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4.xml" ContentType="application/vnd.openxmlformats-officedocument.them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5.xml" ContentType="application/vnd.openxmlformats-officedocument.them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7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8.xml" ContentType="application/vnd.openxmlformats-officedocument.them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9.xml" ContentType="application/vnd.openxmlformats-officedocument.them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0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11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12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22" r:id="rId5"/>
    <p:sldMasterId id="2147483740" r:id="rId6"/>
    <p:sldMasterId id="2147483767" r:id="rId7"/>
    <p:sldMasterId id="2147483814" r:id="rId8"/>
    <p:sldMasterId id="2147483841" r:id="rId9"/>
    <p:sldMasterId id="2147483858" r:id="rId10"/>
    <p:sldMasterId id="2147483891" r:id="rId11"/>
    <p:sldMasterId id="2147483914" r:id="rId12"/>
    <p:sldMasterId id="2147483937" r:id="rId13"/>
    <p:sldMasterId id="2147483952" r:id="rId14"/>
  </p:sldMasterIdLst>
  <p:notesMasterIdLst>
    <p:notesMasterId r:id="rId50"/>
  </p:notesMasterIdLst>
  <p:sldIdLst>
    <p:sldId id="2147377244" r:id="rId15"/>
    <p:sldId id="2147376768" r:id="rId16"/>
    <p:sldId id="2147377241" r:id="rId17"/>
    <p:sldId id="2147377242" r:id="rId18"/>
    <p:sldId id="2147376781" r:id="rId19"/>
    <p:sldId id="2147377245" r:id="rId20"/>
    <p:sldId id="2147376806" r:id="rId21"/>
    <p:sldId id="2147376804" r:id="rId22"/>
    <p:sldId id="2147376814" r:id="rId23"/>
    <p:sldId id="312" r:id="rId24"/>
    <p:sldId id="262" r:id="rId25"/>
    <p:sldId id="3158" r:id="rId26"/>
    <p:sldId id="2147377243" r:id="rId27"/>
    <p:sldId id="340" r:id="rId28"/>
    <p:sldId id="341" r:id="rId29"/>
    <p:sldId id="346" r:id="rId30"/>
    <p:sldId id="345" r:id="rId31"/>
    <p:sldId id="3027" r:id="rId32"/>
    <p:sldId id="2147377166" r:id="rId33"/>
    <p:sldId id="383" r:id="rId34"/>
    <p:sldId id="1926" r:id="rId35"/>
    <p:sldId id="3029" r:id="rId36"/>
    <p:sldId id="3031" r:id="rId37"/>
    <p:sldId id="2147483574" r:id="rId38"/>
    <p:sldId id="2147483576" r:id="rId39"/>
    <p:sldId id="2147482333" r:id="rId40"/>
    <p:sldId id="2147483567" r:id="rId41"/>
    <p:sldId id="9468" r:id="rId42"/>
    <p:sldId id="9541" r:id="rId43"/>
    <p:sldId id="9457" r:id="rId44"/>
    <p:sldId id="351" r:id="rId45"/>
    <p:sldId id="352" r:id="rId46"/>
    <p:sldId id="2147482282" r:id="rId47"/>
    <p:sldId id="353" r:id="rId48"/>
    <p:sldId id="3075" r:id="rId4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433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AAFF"/>
    <a:srgbClr val="7E7E7E"/>
    <a:srgbClr val="1D1D1B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7DF05C-61FA-42FF-88A2-5A51AAD24765}" v="122" dt="2025-01-13T09:46:02.572"/>
    <p1510:client id="{FEC2D166-F5F6-4C61-BAC1-14C2DB2E50B2}" v="350" dt="2025-01-13T07:50:56.5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49" autoAdjust="0"/>
    <p:restoredTop sz="88805" autoAdjust="0"/>
  </p:normalViewPr>
  <p:slideViewPr>
    <p:cSldViewPr snapToGrid="0" showGuides="1">
      <p:cViewPr>
        <p:scale>
          <a:sx n="75" d="100"/>
          <a:sy n="75" d="100"/>
        </p:scale>
        <p:origin x="678" y="972"/>
      </p:cViewPr>
      <p:guideLst>
        <p:guide orient="horz" pos="2137"/>
        <p:guide pos="43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notesMaster" Target="notesMasters/notesMaster1.xml"/><Relationship Id="rId55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8" Type="http://schemas.openxmlformats.org/officeDocument/2006/relationships/slideMaster" Target="slideMasters/slideMaster5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8</c:v>
                </c:pt>
                <c:pt idx="1">
                  <c:v>56</c:v>
                </c:pt>
                <c:pt idx="2">
                  <c:v>38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A-41D3-A637-0349ACAD4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1</c:v>
                </c:pt>
                <c:pt idx="1">
                  <c:v>18</c:v>
                </c:pt>
                <c:pt idx="2">
                  <c:v>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A-41D3-A637-0349ACAD43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83</c:v>
                </c:pt>
                <c:pt idx="1">
                  <c:v>61</c:v>
                </c:pt>
                <c:pt idx="2">
                  <c:v>57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AA-41D3-A637-0349ACAD4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0"/>
        <c:overlap val="-40"/>
        <c:axId val="326450320"/>
        <c:axId val="326450712"/>
      </c:barChart>
      <c:catAx>
        <c:axId val="32645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712"/>
        <c:crosses val="autoZero"/>
        <c:auto val="1"/>
        <c:lblAlgn val="ctr"/>
        <c:lblOffset val="100"/>
        <c:noMultiLvlLbl val="0"/>
      </c:catAx>
      <c:valAx>
        <c:axId val="32645071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645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3716D2-8938-40FE-9F79-246194272B29}" type="datetimeFigureOut">
              <a:rPr lang="en-GB" smtClean="0"/>
              <a:t>23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AC8111-692A-4A04-B828-C5B40E27B9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0852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C8111-692A-4A04-B828-C5B40E27B93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7813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AC8111-692A-4A04-B828-C5B40E27B936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0769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C8111-692A-4A04-B828-C5B40E27B93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379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hyperlink" Target="mailto:max.mustermann@aliaxis.com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3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.xml"/><Relationship Id="rId4" Type="http://schemas.openxmlformats.org/officeDocument/2006/relationships/image" Target="../media/image19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tif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3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3.pn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9.xml"/><Relationship Id="rId4" Type="http://schemas.openxmlformats.org/officeDocument/2006/relationships/image" Target="../media/image19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1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.xml"/><Relationship Id="rId4" Type="http://schemas.openxmlformats.org/officeDocument/2006/relationships/image" Target="../media/image19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1.emf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1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9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9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5469196-C49B-4FCE-8E83-8F932A7877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7193" y="4779034"/>
            <a:ext cx="2290303" cy="200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0062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239751967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 dirty="0"/>
              <a:t>Subheads to text content are styled in bold and coloured </a:t>
            </a:r>
            <a:br>
              <a:rPr lang="en-GB" dirty="0"/>
            </a:br>
            <a:r>
              <a:rPr lang="en-GB" dirty="0"/>
              <a:t>in ‘Accent 1’ blue in the template colour theme:</a:t>
            </a:r>
          </a:p>
          <a:p>
            <a:r>
              <a:rPr lang="en-GB" dirty="0"/>
              <a:t>Placeholders are included to the right of this slide layout</a:t>
            </a:r>
          </a:p>
          <a:p>
            <a:r>
              <a:rPr lang="en-GB" dirty="0"/>
              <a:t>Thumbnail image areas are 4.8cm x 8.1cm</a:t>
            </a:r>
          </a:p>
          <a:p>
            <a:r>
              <a:rPr lang="en-GB" dirty="0"/>
              <a:t>Optional annotations can be added to the images</a:t>
            </a:r>
          </a:p>
          <a:p>
            <a:pPr lvl="1"/>
            <a:r>
              <a:rPr lang="en-GB" dirty="0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1398F60-94DF-48B0-A05D-CEF06D975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8271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 dirty="0"/>
              <a:t>Pull-out subtitle in bold</a:t>
            </a:r>
          </a:p>
          <a:p>
            <a:pPr marL="0" indent="0">
              <a:buNone/>
            </a:pPr>
            <a:r>
              <a:rPr lang="en-GB" dirty="0"/>
              <a:t>Large pull-out paragraph in Century Gothic (18pt)</a:t>
            </a:r>
          </a:p>
          <a:p>
            <a:r>
              <a:rPr lang="en-GB" dirty="0"/>
              <a:t>Image area to the right measures 12.8cm x 19.3cm</a:t>
            </a:r>
          </a:p>
          <a:p>
            <a:r>
              <a:rPr lang="en-GB" dirty="0"/>
              <a:t>Always place images in the correct proportion</a:t>
            </a:r>
          </a:p>
          <a:p>
            <a:r>
              <a:rPr lang="en-GB" dirty="0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7378051-26A5-403A-8682-CA6DC79F2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108204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93974547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/>
              <a:t>Mastertextformat bearbeiten</a:t>
            </a:r>
          </a:p>
          <a:p>
            <a:pPr marL="0" lvl="1" indent="0">
              <a:buNone/>
            </a:pPr>
            <a:r>
              <a:rPr lang="de-DE" b="1"/>
              <a:t>Zweite Ebene</a:t>
            </a:r>
          </a:p>
          <a:p>
            <a:pPr marL="0" lvl="2" indent="0">
              <a:buNone/>
            </a:pPr>
            <a:r>
              <a:rPr lang="de-DE" b="1"/>
              <a:t>Dritte Ebene</a:t>
            </a:r>
          </a:p>
          <a:p>
            <a:pPr marL="0" lvl="3" indent="0">
              <a:buNone/>
            </a:pPr>
            <a:r>
              <a:rPr lang="de-DE" b="1"/>
              <a:t>Vierte Ebene</a:t>
            </a:r>
          </a:p>
          <a:p>
            <a:pPr marL="0" lvl="4" indent="0">
              <a:buNone/>
            </a:pPr>
            <a:r>
              <a:rPr lang="de-DE" b="1"/>
              <a:t>Fünfte Ebene</a:t>
            </a:r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AB47CCE-C6DC-45C8-A6C5-8002B7573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33170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  <a:p>
            <a:pPr marL="0" lvl="3" indent="0">
              <a:buNone/>
            </a:pPr>
            <a:r>
              <a:rPr lang="de-DE"/>
              <a:t>Vierte Ebene</a:t>
            </a:r>
          </a:p>
          <a:p>
            <a:pPr marL="0" lvl="4" indent="0">
              <a:buNone/>
            </a:pPr>
            <a:r>
              <a:rPr lang="de-DE"/>
              <a:t>Fünfte Ebene</a:t>
            </a:r>
            <a:endParaRPr lang="en-GB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>
                <a:solidFill>
                  <a:schemeClr val="accent1"/>
                </a:solidFill>
              </a:rPr>
              <a:t>Mastertextformat bearbeiten</a:t>
            </a:r>
          </a:p>
          <a:p>
            <a:pPr marL="0" lvl="1" indent="0">
              <a:buNone/>
            </a:pPr>
            <a:r>
              <a:rPr lang="de-DE" b="1">
                <a:solidFill>
                  <a:schemeClr val="accent1"/>
                </a:solidFill>
              </a:rPr>
              <a:t>Zweite Ebene</a:t>
            </a:r>
          </a:p>
          <a:p>
            <a:pPr marL="0" lvl="2" indent="0">
              <a:buNone/>
            </a:pPr>
            <a:r>
              <a:rPr lang="de-DE" b="1">
                <a:solidFill>
                  <a:schemeClr val="accent1"/>
                </a:solidFill>
              </a:rPr>
              <a:t>Dritte Ebene</a:t>
            </a:r>
          </a:p>
          <a:p>
            <a:pPr marL="0" lvl="3" indent="0">
              <a:buNone/>
            </a:pPr>
            <a:r>
              <a:rPr lang="de-DE" b="1">
                <a:solidFill>
                  <a:schemeClr val="accent1"/>
                </a:solidFill>
              </a:rPr>
              <a:t>Vierte Ebene</a:t>
            </a:r>
          </a:p>
          <a:p>
            <a:pPr marL="0" lvl="4" indent="0">
              <a:buNone/>
            </a:pPr>
            <a:r>
              <a:rPr lang="de-DE" b="1">
                <a:solidFill>
                  <a:schemeClr val="accent1"/>
                </a:solidFill>
              </a:rPr>
              <a:t>Fünfte Ebene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60F4152-1AF9-4A0C-9AB4-5CE352CFA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527205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D8B11A3-1332-46C3-A632-8C91BEEE9BBD}"/>
              </a:ext>
            </a:extLst>
          </p:cNvPr>
          <p:cNvGrpSpPr/>
          <p:nvPr userDrawn="1"/>
        </p:nvGrpSpPr>
        <p:grpSpPr>
          <a:xfrm>
            <a:off x="696452" y="4790119"/>
            <a:ext cx="10910870" cy="1470211"/>
            <a:chOff x="696452" y="4790119"/>
            <a:chExt cx="10910870" cy="1470211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FDC06DFC-5FDD-41B9-8974-A962B6021B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452" y="5411653"/>
              <a:ext cx="1505269" cy="719911"/>
            </a:xfrm>
            <a:prstGeom prst="rect">
              <a:avLst/>
            </a:prstGeom>
          </p:spPr>
        </p:pic>
        <p:pic>
          <p:nvPicPr>
            <p:cNvPr id="13" name="Picture 4">
              <a:extLst>
                <a:ext uri="{FF2B5EF4-FFF2-40B4-BE49-F238E27FC236}">
                  <a16:creationId xmlns:a16="http://schemas.microsoft.com/office/drawing/2014/main" id="{2A371C7E-0FD7-4C84-9951-0AEA3A21A4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683" t="11401" r="14795" b="14142"/>
            <a:stretch/>
          </p:blipFill>
          <p:spPr>
            <a:xfrm>
              <a:off x="10020569" y="4790119"/>
              <a:ext cx="1586753" cy="1470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63163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C2203FC-4028-458A-87C8-D89C9DD7E387}"/>
              </a:ext>
            </a:extLst>
          </p:cNvPr>
          <p:cNvGrpSpPr/>
          <p:nvPr userDrawn="1"/>
        </p:nvGrpSpPr>
        <p:grpSpPr>
          <a:xfrm>
            <a:off x="687826" y="4536952"/>
            <a:ext cx="11272399" cy="2009955"/>
            <a:chOff x="687826" y="4536952"/>
            <a:chExt cx="11272399" cy="2009955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1392CF82-DDA4-43F4-B41E-2179DC9FE1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9922" y="4536952"/>
              <a:ext cx="2290303" cy="2009955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3C318D26-E017-4C6A-8583-E31BE51FB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826" y="5413775"/>
              <a:ext cx="1446441" cy="7314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3730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bg1"/>
                </a:solidFill>
              </a:rPr>
              <a:t>Thank</a:t>
            </a:r>
            <a:r>
              <a:rPr lang="en-GB" sz="3400" b="1" baseline="0" dirty="0">
                <a:solidFill>
                  <a:schemeClr val="bg1"/>
                </a:solidFill>
              </a:rPr>
              <a:t> you.</a:t>
            </a:r>
            <a:endParaRPr lang="en-GB" sz="3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6727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accent1"/>
                </a:solidFill>
              </a:rPr>
              <a:t>Thank</a:t>
            </a:r>
            <a:r>
              <a:rPr lang="en-GB" sz="3400" b="1" baseline="0" dirty="0">
                <a:solidFill>
                  <a:schemeClr val="accent1"/>
                </a:solidFill>
              </a:rPr>
              <a:t> you.</a:t>
            </a:r>
            <a:endParaRPr lang="en-GB" sz="3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39371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194574943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aliaxis.d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A9D2B4-1CBE-4EF8-9CDC-9ADFAD5C54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70" y="1801935"/>
            <a:ext cx="3163060" cy="2775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74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160820462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10800000" cy="466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846571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8D467E-1811-406A-AEE8-F962F31C0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982516-A1B5-4D82-9022-A9EF2D32D2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864B546-C31C-426F-A27D-F6DB1F871E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83D7F9-0B4C-47BD-894B-41EC2FBDF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7BC0103-073C-4A0D-B7BD-8F20078B117B}"/>
              </a:ext>
            </a:extLst>
          </p:cNvPr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793DC50F-DDE2-4A86-AF94-EC27077AC87E}"/>
              </a:ext>
            </a:extLst>
          </p:cNvPr>
          <p:cNvGrpSpPr/>
          <p:nvPr userDrawn="1"/>
        </p:nvGrpSpPr>
        <p:grpSpPr>
          <a:xfrm>
            <a:off x="10313988" y="5192713"/>
            <a:ext cx="1397000" cy="1189037"/>
            <a:chOff x="10313988" y="5192713"/>
            <a:chExt cx="1397000" cy="1189037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CC1CC2B1-A0DA-4875-BC9A-06C6CCDAEE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41075" y="6124575"/>
              <a:ext cx="260350" cy="250825"/>
            </a:xfrm>
            <a:custGeom>
              <a:avLst/>
              <a:gdLst>
                <a:gd name="T0" fmla="*/ 516 w 728"/>
                <a:gd name="T1" fmla="*/ 0 h 706"/>
                <a:gd name="T2" fmla="*/ 375 w 728"/>
                <a:gd name="T3" fmla="*/ 208 h 706"/>
                <a:gd name="T4" fmla="*/ 227 w 728"/>
                <a:gd name="T5" fmla="*/ 0 h 706"/>
                <a:gd name="T6" fmla="*/ 13 w 728"/>
                <a:gd name="T7" fmla="*/ 0 h 706"/>
                <a:gd name="T8" fmla="*/ 252 w 728"/>
                <a:gd name="T9" fmla="*/ 338 h 706"/>
                <a:gd name="T10" fmla="*/ 0 w 728"/>
                <a:gd name="T11" fmla="*/ 706 h 706"/>
                <a:gd name="T12" fmla="*/ 200 w 728"/>
                <a:gd name="T13" fmla="*/ 706 h 706"/>
                <a:gd name="T14" fmla="*/ 354 w 728"/>
                <a:gd name="T15" fmla="*/ 480 h 706"/>
                <a:gd name="T16" fmla="*/ 514 w 728"/>
                <a:gd name="T17" fmla="*/ 706 h 706"/>
                <a:gd name="T18" fmla="*/ 728 w 728"/>
                <a:gd name="T19" fmla="*/ 706 h 706"/>
                <a:gd name="T20" fmla="*/ 475 w 728"/>
                <a:gd name="T21" fmla="*/ 349 h 706"/>
                <a:gd name="T22" fmla="*/ 715 w 728"/>
                <a:gd name="T23" fmla="*/ 0 h 706"/>
                <a:gd name="T24" fmla="*/ 516 w 728"/>
                <a:gd name="T25" fmla="*/ 0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8" h="706">
                  <a:moveTo>
                    <a:pt x="516" y="0"/>
                  </a:moveTo>
                  <a:lnTo>
                    <a:pt x="375" y="208"/>
                  </a:lnTo>
                  <a:lnTo>
                    <a:pt x="227" y="0"/>
                  </a:lnTo>
                  <a:lnTo>
                    <a:pt x="13" y="0"/>
                  </a:lnTo>
                  <a:lnTo>
                    <a:pt x="252" y="338"/>
                  </a:lnTo>
                  <a:lnTo>
                    <a:pt x="0" y="706"/>
                  </a:lnTo>
                  <a:lnTo>
                    <a:pt x="200" y="706"/>
                  </a:lnTo>
                  <a:lnTo>
                    <a:pt x="354" y="480"/>
                  </a:lnTo>
                  <a:lnTo>
                    <a:pt x="514" y="706"/>
                  </a:lnTo>
                  <a:lnTo>
                    <a:pt x="728" y="706"/>
                  </a:lnTo>
                  <a:lnTo>
                    <a:pt x="475" y="349"/>
                  </a:lnTo>
                  <a:lnTo>
                    <a:pt x="715" y="0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2EA5383-5B4E-46E0-AFCE-1F76624CCA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2075" y="6118225"/>
              <a:ext cx="188913" cy="263525"/>
            </a:xfrm>
            <a:custGeom>
              <a:avLst/>
              <a:gdLst>
                <a:gd name="T0" fmla="*/ 140 w 532"/>
                <a:gd name="T1" fmla="*/ 506 h 740"/>
                <a:gd name="T2" fmla="*/ 274 w 532"/>
                <a:gd name="T3" fmla="*/ 595 h 740"/>
                <a:gd name="T4" fmla="*/ 357 w 532"/>
                <a:gd name="T5" fmla="*/ 535 h 740"/>
                <a:gd name="T6" fmla="*/ 232 w 532"/>
                <a:gd name="T7" fmla="*/ 434 h 740"/>
                <a:gd name="T8" fmla="*/ 26 w 532"/>
                <a:gd name="T9" fmla="*/ 208 h 740"/>
                <a:gd name="T10" fmla="*/ 267 w 532"/>
                <a:gd name="T11" fmla="*/ 0 h 740"/>
                <a:gd name="T12" fmla="*/ 525 w 532"/>
                <a:gd name="T13" fmla="*/ 169 h 740"/>
                <a:gd name="T14" fmla="*/ 387 w 532"/>
                <a:gd name="T15" fmla="*/ 228 h 740"/>
                <a:gd name="T16" fmla="*/ 272 w 532"/>
                <a:gd name="T17" fmla="*/ 143 h 740"/>
                <a:gd name="T18" fmla="*/ 199 w 532"/>
                <a:gd name="T19" fmla="*/ 198 h 740"/>
                <a:gd name="T20" fmla="*/ 319 w 532"/>
                <a:gd name="T21" fmla="*/ 288 h 740"/>
                <a:gd name="T22" fmla="*/ 532 w 532"/>
                <a:gd name="T23" fmla="*/ 523 h 740"/>
                <a:gd name="T24" fmla="*/ 272 w 532"/>
                <a:gd name="T25" fmla="*/ 740 h 740"/>
                <a:gd name="T26" fmla="*/ 0 w 532"/>
                <a:gd name="T27" fmla="*/ 567 h 740"/>
                <a:gd name="T28" fmla="*/ 140 w 532"/>
                <a:gd name="T29" fmla="*/ 506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2" h="740">
                  <a:moveTo>
                    <a:pt x="140" y="506"/>
                  </a:moveTo>
                  <a:cubicBezTo>
                    <a:pt x="164" y="562"/>
                    <a:pt x="203" y="596"/>
                    <a:pt x="274" y="595"/>
                  </a:cubicBezTo>
                  <a:cubicBezTo>
                    <a:pt x="323" y="595"/>
                    <a:pt x="357" y="574"/>
                    <a:pt x="357" y="535"/>
                  </a:cubicBezTo>
                  <a:cubicBezTo>
                    <a:pt x="357" y="490"/>
                    <a:pt x="331" y="475"/>
                    <a:pt x="232" y="434"/>
                  </a:cubicBezTo>
                  <a:cubicBezTo>
                    <a:pt x="108" y="387"/>
                    <a:pt x="26" y="318"/>
                    <a:pt x="26" y="208"/>
                  </a:cubicBezTo>
                  <a:cubicBezTo>
                    <a:pt x="26" y="94"/>
                    <a:pt x="112" y="0"/>
                    <a:pt x="267" y="0"/>
                  </a:cubicBezTo>
                  <a:cubicBezTo>
                    <a:pt x="420" y="0"/>
                    <a:pt x="505" y="66"/>
                    <a:pt x="525" y="169"/>
                  </a:cubicBezTo>
                  <a:lnTo>
                    <a:pt x="387" y="228"/>
                  </a:lnTo>
                  <a:cubicBezTo>
                    <a:pt x="371" y="173"/>
                    <a:pt x="330" y="143"/>
                    <a:pt x="272" y="143"/>
                  </a:cubicBezTo>
                  <a:cubicBezTo>
                    <a:pt x="224" y="143"/>
                    <a:pt x="199" y="165"/>
                    <a:pt x="199" y="198"/>
                  </a:cubicBezTo>
                  <a:cubicBezTo>
                    <a:pt x="199" y="237"/>
                    <a:pt x="234" y="251"/>
                    <a:pt x="319" y="288"/>
                  </a:cubicBezTo>
                  <a:cubicBezTo>
                    <a:pt x="445" y="340"/>
                    <a:pt x="532" y="403"/>
                    <a:pt x="532" y="523"/>
                  </a:cubicBezTo>
                  <a:cubicBezTo>
                    <a:pt x="532" y="625"/>
                    <a:pt x="450" y="740"/>
                    <a:pt x="272" y="740"/>
                  </a:cubicBezTo>
                  <a:cubicBezTo>
                    <a:pt x="140" y="740"/>
                    <a:pt x="30" y="676"/>
                    <a:pt x="0" y="567"/>
                  </a:cubicBezTo>
                  <a:lnTo>
                    <a:pt x="140" y="5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439F5802-88DA-4ED4-96C1-73B6F95778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50550" y="6124575"/>
              <a:ext cx="66675" cy="2508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DB00478B-5DB6-48A6-9512-7A95A49A81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26825" y="6124575"/>
              <a:ext cx="65088" cy="2508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CDF1640-676D-44DF-81B5-19AED93BD9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37838" y="6026150"/>
              <a:ext cx="66675" cy="3492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B87D1F93-A017-43ED-BDD9-43B9DFCF6B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21925" y="6118225"/>
              <a:ext cx="271463" cy="263525"/>
            </a:xfrm>
            <a:custGeom>
              <a:avLst/>
              <a:gdLst>
                <a:gd name="T0" fmla="*/ 375 w 763"/>
                <a:gd name="T1" fmla="*/ 577 h 740"/>
                <a:gd name="T2" fmla="*/ 173 w 763"/>
                <a:gd name="T3" fmla="*/ 370 h 740"/>
                <a:gd name="T4" fmla="*/ 375 w 763"/>
                <a:gd name="T5" fmla="*/ 163 h 740"/>
                <a:gd name="T6" fmla="*/ 577 w 763"/>
                <a:gd name="T7" fmla="*/ 370 h 740"/>
                <a:gd name="T8" fmla="*/ 375 w 763"/>
                <a:gd name="T9" fmla="*/ 577 h 740"/>
                <a:gd name="T10" fmla="*/ 577 w 763"/>
                <a:gd name="T11" fmla="*/ 17 h 740"/>
                <a:gd name="T12" fmla="*/ 577 w 763"/>
                <a:gd name="T13" fmla="*/ 17 h 740"/>
                <a:gd name="T14" fmla="*/ 577 w 763"/>
                <a:gd name="T15" fmla="*/ 90 h 740"/>
                <a:gd name="T16" fmla="*/ 357 w 763"/>
                <a:gd name="T17" fmla="*/ 0 h 740"/>
                <a:gd name="T18" fmla="*/ 1 w 763"/>
                <a:gd name="T19" fmla="*/ 351 h 740"/>
                <a:gd name="T20" fmla="*/ 0 w 763"/>
                <a:gd name="T21" fmla="*/ 370 h 740"/>
                <a:gd name="T22" fmla="*/ 1 w 763"/>
                <a:gd name="T23" fmla="*/ 389 h 740"/>
                <a:gd name="T24" fmla="*/ 357 w 763"/>
                <a:gd name="T25" fmla="*/ 740 h 740"/>
                <a:gd name="T26" fmla="*/ 577 w 763"/>
                <a:gd name="T27" fmla="*/ 649 h 740"/>
                <a:gd name="T28" fmla="*/ 577 w 763"/>
                <a:gd name="T29" fmla="*/ 723 h 740"/>
                <a:gd name="T30" fmla="*/ 763 w 763"/>
                <a:gd name="T31" fmla="*/ 723 h 740"/>
                <a:gd name="T32" fmla="*/ 763 w 763"/>
                <a:gd name="T33" fmla="*/ 17 h 740"/>
                <a:gd name="T34" fmla="*/ 577 w 763"/>
                <a:gd name="T35" fmla="*/ 17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3" h="740">
                  <a:moveTo>
                    <a:pt x="375" y="577"/>
                  </a:moveTo>
                  <a:cubicBezTo>
                    <a:pt x="264" y="577"/>
                    <a:pt x="173" y="484"/>
                    <a:pt x="173" y="370"/>
                  </a:cubicBezTo>
                  <a:cubicBezTo>
                    <a:pt x="173" y="255"/>
                    <a:pt x="264" y="163"/>
                    <a:pt x="375" y="163"/>
                  </a:cubicBezTo>
                  <a:cubicBezTo>
                    <a:pt x="486" y="163"/>
                    <a:pt x="577" y="255"/>
                    <a:pt x="577" y="370"/>
                  </a:cubicBezTo>
                  <a:cubicBezTo>
                    <a:pt x="577" y="484"/>
                    <a:pt x="486" y="577"/>
                    <a:pt x="375" y="577"/>
                  </a:cubicBezTo>
                  <a:close/>
                  <a:moveTo>
                    <a:pt x="577" y="17"/>
                  </a:moveTo>
                  <a:lnTo>
                    <a:pt x="577" y="17"/>
                  </a:lnTo>
                  <a:lnTo>
                    <a:pt x="577" y="90"/>
                  </a:lnTo>
                  <a:cubicBezTo>
                    <a:pt x="547" y="48"/>
                    <a:pt x="459" y="0"/>
                    <a:pt x="357" y="0"/>
                  </a:cubicBezTo>
                  <a:cubicBezTo>
                    <a:pt x="183" y="0"/>
                    <a:pt x="11" y="150"/>
                    <a:pt x="1" y="351"/>
                  </a:cubicBezTo>
                  <a:cubicBezTo>
                    <a:pt x="0" y="357"/>
                    <a:pt x="0" y="363"/>
                    <a:pt x="0" y="370"/>
                  </a:cubicBezTo>
                  <a:cubicBezTo>
                    <a:pt x="0" y="376"/>
                    <a:pt x="0" y="383"/>
                    <a:pt x="1" y="389"/>
                  </a:cubicBezTo>
                  <a:cubicBezTo>
                    <a:pt x="11" y="590"/>
                    <a:pt x="183" y="740"/>
                    <a:pt x="357" y="740"/>
                  </a:cubicBezTo>
                  <a:cubicBezTo>
                    <a:pt x="459" y="740"/>
                    <a:pt x="547" y="691"/>
                    <a:pt x="577" y="649"/>
                  </a:cubicBezTo>
                  <a:lnTo>
                    <a:pt x="577" y="723"/>
                  </a:lnTo>
                  <a:lnTo>
                    <a:pt x="763" y="723"/>
                  </a:lnTo>
                  <a:lnTo>
                    <a:pt x="763" y="17"/>
                  </a:lnTo>
                  <a:lnTo>
                    <a:pt x="57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A52311D5-F191-4323-8A16-E208D9989F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45800" y="6118225"/>
              <a:ext cx="271463" cy="263525"/>
            </a:xfrm>
            <a:custGeom>
              <a:avLst/>
              <a:gdLst>
                <a:gd name="T0" fmla="*/ 375 w 763"/>
                <a:gd name="T1" fmla="*/ 577 h 740"/>
                <a:gd name="T2" fmla="*/ 173 w 763"/>
                <a:gd name="T3" fmla="*/ 370 h 740"/>
                <a:gd name="T4" fmla="*/ 375 w 763"/>
                <a:gd name="T5" fmla="*/ 163 h 740"/>
                <a:gd name="T6" fmla="*/ 576 w 763"/>
                <a:gd name="T7" fmla="*/ 370 h 740"/>
                <a:gd name="T8" fmla="*/ 375 w 763"/>
                <a:gd name="T9" fmla="*/ 577 h 740"/>
                <a:gd name="T10" fmla="*/ 576 w 763"/>
                <a:gd name="T11" fmla="*/ 17 h 740"/>
                <a:gd name="T12" fmla="*/ 576 w 763"/>
                <a:gd name="T13" fmla="*/ 17 h 740"/>
                <a:gd name="T14" fmla="*/ 576 w 763"/>
                <a:gd name="T15" fmla="*/ 90 h 740"/>
                <a:gd name="T16" fmla="*/ 356 w 763"/>
                <a:gd name="T17" fmla="*/ 0 h 740"/>
                <a:gd name="T18" fmla="*/ 0 w 763"/>
                <a:gd name="T19" fmla="*/ 351 h 740"/>
                <a:gd name="T20" fmla="*/ 0 w 763"/>
                <a:gd name="T21" fmla="*/ 370 h 740"/>
                <a:gd name="T22" fmla="*/ 0 w 763"/>
                <a:gd name="T23" fmla="*/ 389 h 740"/>
                <a:gd name="T24" fmla="*/ 356 w 763"/>
                <a:gd name="T25" fmla="*/ 740 h 740"/>
                <a:gd name="T26" fmla="*/ 576 w 763"/>
                <a:gd name="T27" fmla="*/ 649 h 740"/>
                <a:gd name="T28" fmla="*/ 576 w 763"/>
                <a:gd name="T29" fmla="*/ 723 h 740"/>
                <a:gd name="T30" fmla="*/ 763 w 763"/>
                <a:gd name="T31" fmla="*/ 723 h 740"/>
                <a:gd name="T32" fmla="*/ 763 w 763"/>
                <a:gd name="T33" fmla="*/ 17 h 740"/>
                <a:gd name="T34" fmla="*/ 576 w 763"/>
                <a:gd name="T35" fmla="*/ 17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3" h="740">
                  <a:moveTo>
                    <a:pt x="375" y="577"/>
                  </a:moveTo>
                  <a:cubicBezTo>
                    <a:pt x="263" y="577"/>
                    <a:pt x="173" y="484"/>
                    <a:pt x="173" y="370"/>
                  </a:cubicBezTo>
                  <a:cubicBezTo>
                    <a:pt x="173" y="255"/>
                    <a:pt x="263" y="163"/>
                    <a:pt x="375" y="163"/>
                  </a:cubicBezTo>
                  <a:cubicBezTo>
                    <a:pt x="486" y="163"/>
                    <a:pt x="576" y="255"/>
                    <a:pt x="576" y="370"/>
                  </a:cubicBezTo>
                  <a:cubicBezTo>
                    <a:pt x="576" y="484"/>
                    <a:pt x="486" y="577"/>
                    <a:pt x="375" y="577"/>
                  </a:cubicBezTo>
                  <a:close/>
                  <a:moveTo>
                    <a:pt x="576" y="17"/>
                  </a:moveTo>
                  <a:lnTo>
                    <a:pt x="576" y="17"/>
                  </a:lnTo>
                  <a:lnTo>
                    <a:pt x="576" y="90"/>
                  </a:lnTo>
                  <a:cubicBezTo>
                    <a:pt x="547" y="48"/>
                    <a:pt x="459" y="0"/>
                    <a:pt x="356" y="0"/>
                  </a:cubicBezTo>
                  <a:cubicBezTo>
                    <a:pt x="183" y="0"/>
                    <a:pt x="10" y="150"/>
                    <a:pt x="0" y="351"/>
                  </a:cubicBezTo>
                  <a:cubicBezTo>
                    <a:pt x="0" y="357"/>
                    <a:pt x="0" y="363"/>
                    <a:pt x="0" y="370"/>
                  </a:cubicBezTo>
                  <a:cubicBezTo>
                    <a:pt x="0" y="376"/>
                    <a:pt x="0" y="383"/>
                    <a:pt x="0" y="389"/>
                  </a:cubicBezTo>
                  <a:cubicBezTo>
                    <a:pt x="10" y="590"/>
                    <a:pt x="183" y="740"/>
                    <a:pt x="356" y="740"/>
                  </a:cubicBezTo>
                  <a:cubicBezTo>
                    <a:pt x="459" y="740"/>
                    <a:pt x="547" y="691"/>
                    <a:pt x="576" y="649"/>
                  </a:cubicBezTo>
                  <a:lnTo>
                    <a:pt x="576" y="723"/>
                  </a:lnTo>
                  <a:lnTo>
                    <a:pt x="763" y="723"/>
                  </a:lnTo>
                  <a:lnTo>
                    <a:pt x="763" y="17"/>
                  </a:lnTo>
                  <a:lnTo>
                    <a:pt x="576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DC46C175-6014-4230-B0A6-7CA3E3AEF1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1666"/>
            <a:stretch/>
          </p:blipFill>
          <p:spPr>
            <a:xfrm>
              <a:off x="10313988" y="5192713"/>
              <a:ext cx="1397000" cy="815767"/>
            </a:xfrm>
            <a:prstGeom prst="rect">
              <a:avLst/>
            </a:prstGeom>
          </p:spPr>
        </p:pic>
      </p:grpSp>
      <p:sp>
        <p:nvSpPr>
          <p:cNvPr id="17" name="Rectangle 8">
            <a:extLst>
              <a:ext uri="{FF2B5EF4-FFF2-40B4-BE49-F238E27FC236}">
                <a16:creationId xmlns:a16="http://schemas.microsoft.com/office/drawing/2014/main" id="{85FDA02D-6C95-4FC0-B0B5-46B33773F9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71C8D71A-0A23-4CDE-A85A-349CE336CC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87CFFFDA-67BB-4F3C-BAB9-59A6E85C89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ltGray">
          <a:xfrm>
            <a:off x="5151437" y="1287175"/>
            <a:ext cx="1997689" cy="2583489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CE9779B8-FBB2-40E8-A32E-FA7C8AEE47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7491" y="1287177"/>
            <a:ext cx="4223333" cy="967752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Ihr Kontakt:</a:t>
            </a:r>
          </a:p>
          <a:p>
            <a:pPr lvl="0"/>
            <a:r>
              <a:rPr lang="de-DE" dirty="0"/>
              <a:t>Max Musterman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5BD34A7-8D88-468B-B2D4-A3C701CB0870}"/>
              </a:ext>
            </a:extLst>
          </p:cNvPr>
          <p:cNvSpPr txBox="1"/>
          <p:nvPr userDrawn="1"/>
        </p:nvSpPr>
        <p:spPr>
          <a:xfrm>
            <a:off x="834501" y="2290438"/>
            <a:ext cx="431693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+49 xxx </a:t>
            </a:r>
            <a:r>
              <a:rPr lang="de-DE" sz="2000" dirty="0" err="1">
                <a:solidFill>
                  <a:schemeClr val="bg1"/>
                </a:solidFill>
              </a:rPr>
              <a:t>xxx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xxxx</a:t>
            </a:r>
            <a:endParaRPr lang="de-DE" sz="20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</a:rPr>
              <a:t>+49 xxx </a:t>
            </a:r>
            <a:r>
              <a:rPr lang="de-DE" sz="2000" dirty="0" err="1">
                <a:solidFill>
                  <a:schemeClr val="bg1"/>
                </a:solidFill>
              </a:rPr>
              <a:t>xxx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xxxx</a:t>
            </a:r>
            <a:endParaRPr lang="de-DE" sz="2000" dirty="0">
              <a:solidFill>
                <a:schemeClr val="bg1"/>
              </a:solidFill>
            </a:endParaRPr>
          </a:p>
          <a:p>
            <a:r>
              <a:rPr lang="de-DE" sz="2000" dirty="0">
                <a:solidFill>
                  <a:schemeClr val="bg1"/>
                </a:solidFill>
                <a:hlinkClick r:id="rId3"/>
              </a:rPr>
              <a:t>max.mustermann@aliaxis.com</a:t>
            </a:r>
            <a:endParaRPr lang="de-DE" sz="2000" dirty="0">
              <a:solidFill>
                <a:schemeClr val="bg1"/>
              </a:solidFill>
            </a:endParaRPr>
          </a:p>
          <a:p>
            <a:endParaRPr lang="de-DE" sz="20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</a:rPr>
              <a:t>www.aliaxis.de</a:t>
            </a:r>
          </a:p>
          <a:p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85152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/>
              <a:t>Headline</a:t>
            </a:r>
            <a:br>
              <a:rPr lang="en-US"/>
            </a:br>
            <a:r>
              <a:rPr lang="en-US" err="1"/>
              <a:t>Headline</a:t>
            </a:r>
            <a:endParaRPr lang="en-US"/>
          </a:p>
          <a:p>
            <a:r>
              <a:rPr lang="en-US"/>
              <a:t>Headline</a:t>
            </a:r>
          </a:p>
          <a:p>
            <a:pPr lvl="1"/>
            <a:r>
              <a:rPr lang="en-US"/>
              <a:t>Subline</a:t>
            </a:r>
          </a:p>
          <a:p>
            <a:pPr lvl="1"/>
            <a:r>
              <a:rPr lang="en-US"/>
              <a:t>Subline</a:t>
            </a:r>
          </a:p>
          <a:p>
            <a:pPr lvl="1"/>
            <a:r>
              <a:rPr lang="en-US"/>
              <a:t>Subline</a:t>
            </a:r>
            <a:endParaRPr lang="en-GB"/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374" y="5861476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Surname</a:t>
            </a:r>
          </a:p>
          <a:p>
            <a:r>
              <a:rPr lang="en-US"/>
              <a:t>00.00.00</a:t>
            </a:r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C9F060E-1CC1-4457-B878-846A45EA4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07751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CF4225-DE32-48AD-BE55-319C4822D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114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CF4225-DE32-48AD-BE55-319C4822D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Agenda/Conten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pPr lvl="1"/>
            <a:r>
              <a:rPr lang="en-GB"/>
              <a:t>Supporting detail if required</a:t>
            </a:r>
          </a:p>
          <a:p>
            <a:pPr lvl="1"/>
            <a:r>
              <a:rPr lang="en-GB"/>
              <a:t>Supporting detail if required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Presented by: (Level 1)</a:t>
            </a:r>
          </a:p>
          <a:p>
            <a:pPr lvl="1"/>
            <a:r>
              <a:rPr lang="en-GB"/>
              <a:t>Name Surname (Level 2)</a:t>
            </a:r>
          </a:p>
          <a:p>
            <a:pPr lvl="1"/>
            <a:r>
              <a:rPr lang="en-GB"/>
              <a:t>Name Surname</a:t>
            </a:r>
          </a:p>
          <a:p>
            <a:pPr lvl="1"/>
            <a:endParaRPr lang="en-GB"/>
          </a:p>
          <a:p>
            <a:r>
              <a:rPr lang="en-GB"/>
              <a:t>Date: (Level 1)</a:t>
            </a:r>
          </a:p>
          <a:p>
            <a:pPr lvl="1"/>
            <a:r>
              <a:rPr lang="en-GB"/>
              <a:t>00.00.00 (Level 2)</a:t>
            </a:r>
          </a:p>
          <a:p>
            <a:endParaRPr lang="en-GB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03A6B58-F225-40F8-BBF9-476BEA62D4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694729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/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/>
              <a:t>®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86A0241-9505-478C-BDB3-90354CD0B7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55235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/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/>
              <a:t>®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4BC37A4-29E9-4FA2-914B-07FC6ED849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12861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8566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37ED9D2-4536-4E83-B485-E4F0D33909E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0505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>
                <a:solidFill>
                  <a:schemeClr val="accent1"/>
                </a:solidFill>
              </a:rPr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341C55E-5897-4C0C-8797-55F8F95B9D9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06486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0B9999-360C-425C-9148-74005C74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172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0B9999-360C-425C-9148-74005C74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499D9E-7B28-44C5-AF7B-543B80116B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Content </a:t>
            </a:r>
            <a:r>
              <a:rPr lang="de-DE" err="1"/>
              <a:t>left</a:t>
            </a:r>
            <a:r>
              <a:rPr lang="de-DE"/>
              <a:t> and </a:t>
            </a:r>
            <a:r>
              <a:rPr lang="de-DE" err="1"/>
              <a:t>pictures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/>
              <a:t>Subheads to text content are styled in bold and coloured </a:t>
            </a:r>
            <a:br>
              <a:rPr lang="en-GB"/>
            </a:br>
            <a:r>
              <a:rPr lang="en-GB"/>
              <a:t>in ‘Accent 1’ blue in the template colour theme:</a:t>
            </a:r>
          </a:p>
          <a:p>
            <a:r>
              <a:rPr lang="en-GB"/>
              <a:t>Placeholders are included to the right of this slide layout</a:t>
            </a:r>
          </a:p>
          <a:p>
            <a:r>
              <a:rPr lang="en-GB"/>
              <a:t>Thumbnail image areas are 4.8cm x 8.1cm</a:t>
            </a:r>
          </a:p>
          <a:p>
            <a:r>
              <a:rPr lang="en-GB"/>
              <a:t>Optional annotations can be added to the images</a:t>
            </a:r>
          </a:p>
          <a:p>
            <a:pPr lvl="1"/>
            <a:r>
              <a:rPr lang="en-GB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Image annotation</a:t>
            </a:r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Image annotation</a:t>
            </a:r>
            <a:endParaRPr lang="en-GB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8CDFC06A-9477-4545-A1FA-B596728FC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454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DDF39C-2CD0-4F48-A4AD-0CB1C9646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56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DDF39C-2CD0-4F48-A4AD-0CB1C9646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2CD9C9-94AD-4572-9C3F-804BC35BC9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Content </a:t>
            </a:r>
            <a:r>
              <a:rPr lang="de-DE" err="1"/>
              <a:t>left</a:t>
            </a:r>
            <a:r>
              <a:rPr lang="de-DE"/>
              <a:t> and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big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/>
              <a:t>Pull-out subtitle in bold</a:t>
            </a:r>
          </a:p>
          <a:p>
            <a:pPr marL="0" indent="0">
              <a:buNone/>
            </a:pPr>
            <a:r>
              <a:rPr lang="en-GB"/>
              <a:t>Large pull-out paragraph in Century Gothic (18pt)</a:t>
            </a:r>
          </a:p>
          <a:p>
            <a:r>
              <a:rPr lang="en-GB"/>
              <a:t>Image area to the right measures 12.8cm x 19.3cm</a:t>
            </a:r>
          </a:p>
          <a:p>
            <a:r>
              <a:rPr lang="en-GB"/>
              <a:t>Always place images in the correct proportion</a:t>
            </a:r>
          </a:p>
          <a:p>
            <a:r>
              <a:rPr lang="en-GB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963FE11-4906-4CA6-B780-0CFB1066D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39895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 dirty="0"/>
              <a:t>Subheads to text content are styled in bold and coloured </a:t>
            </a:r>
            <a:br>
              <a:rPr lang="en-GB" dirty="0"/>
            </a:br>
            <a:r>
              <a:rPr lang="en-GB" dirty="0"/>
              <a:t>in ‘Accent 1’ blue in the template colour theme:</a:t>
            </a:r>
          </a:p>
          <a:p>
            <a:r>
              <a:rPr lang="en-GB" dirty="0"/>
              <a:t>Placeholders are included to the right of this slide layout</a:t>
            </a:r>
          </a:p>
          <a:p>
            <a:r>
              <a:rPr lang="en-GB" dirty="0"/>
              <a:t>Thumbnail image areas are 4.8cm x 8.1cm</a:t>
            </a:r>
          </a:p>
          <a:p>
            <a:r>
              <a:rPr lang="en-GB" dirty="0"/>
              <a:t>Optional annotations can be added to the images</a:t>
            </a:r>
          </a:p>
          <a:p>
            <a:pPr lvl="1"/>
            <a:r>
              <a:rPr lang="en-GB" dirty="0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1398F60-94DF-48B0-A05D-CEF06D975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3432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 userDrawn="1">
          <p15:clr>
            <a:srgbClr val="547EBF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/>
              <a:t>Column chart with gradient fills</a:t>
            </a:r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8992171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/>
              <a:t>Pull-out subtitle in bold</a:t>
            </a:r>
          </a:p>
          <a:p>
            <a:pPr marL="0" indent="0">
              <a:buNone/>
            </a:pPr>
            <a:r>
              <a:rPr lang="en-GB"/>
              <a:t>Small pull-out paragraph in Century Gothic (14pt)</a:t>
            </a:r>
          </a:p>
          <a:p>
            <a:r>
              <a:rPr lang="en-GB"/>
              <a:t>Gradient fill markers are always set at 0-50-100, as examples shown</a:t>
            </a:r>
          </a:p>
          <a:p>
            <a:r>
              <a:rPr lang="en-GB"/>
              <a:t>Gradients should never include more than two colours</a:t>
            </a:r>
          </a:p>
          <a:p>
            <a:r>
              <a:rPr lang="en-GB"/>
              <a:t>Chart style can be copied and pasted or saved as a chart template for future us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B185F05-BF2C-482C-BB59-F95F044FE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291938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/>
              <a:t>Two Content layout showing</a:t>
            </a:r>
            <a:br>
              <a:rPr lang="en-GB"/>
            </a:br>
            <a:r>
              <a:rPr lang="en-GB"/>
              <a:t>a bold subhead in blu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/>
              <a:t>Keep text and bullet point content brief and to the point:</a:t>
            </a:r>
          </a:p>
          <a:p>
            <a:r>
              <a:rPr lang="en-GB"/>
              <a:t>Where bullet points have levels</a:t>
            </a:r>
          </a:p>
          <a:p>
            <a:pPr lvl="1"/>
            <a:r>
              <a:rPr lang="en-GB"/>
              <a:t>Use the ‘Decrease/Increase Indent’ buttons in the ‘Paragraph’ tools</a:t>
            </a:r>
          </a:p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Populating all footers automatically</a:t>
            </a:r>
          </a:p>
          <a:p>
            <a:r>
              <a:rPr lang="en-GB"/>
              <a:t>Go to the ‘Insert’ tab</a:t>
            </a:r>
          </a:p>
          <a:p>
            <a:pPr lvl="1"/>
            <a:r>
              <a:rPr lang="en-GB"/>
              <a:t>Choose the ‘Header &amp; Footer’ button from the ‘Text’ tools</a:t>
            </a:r>
          </a:p>
          <a:p>
            <a:endParaRPr lang="en-GB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/>
              <a:t>Subheads to text content are styled in bold and coloured in ‘Accent 1’ blue in the template colour theme:</a:t>
            </a:r>
          </a:p>
          <a:p>
            <a:r>
              <a:rPr lang="en-GB"/>
              <a:t>Only this blue should be used for highlighting subheads</a:t>
            </a:r>
          </a:p>
          <a:p>
            <a:r>
              <a:rPr lang="en-GB"/>
              <a:t>Text, objects and lines are coloured cool grey, avoiding 100% black</a:t>
            </a:r>
          </a:p>
          <a:p>
            <a:r>
              <a:rPr lang="en-GB"/>
              <a:t>Use </a:t>
            </a:r>
            <a:r>
              <a:rPr lang="en-GB" b="1"/>
              <a:t>bold style</a:t>
            </a:r>
            <a:r>
              <a:rPr lang="en-GB"/>
              <a:t> where emphasis is required in the text content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BF6E3CB-11F7-4344-885B-BEB12FAC3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76233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>
                <a:solidFill>
                  <a:schemeClr val="bg1"/>
                </a:solidFill>
              </a:rPr>
              <a:t>Thank</a:t>
            </a:r>
            <a:r>
              <a:rPr lang="en-GB" sz="3400" b="1" baseline="0">
                <a:solidFill>
                  <a:schemeClr val="bg1"/>
                </a:solidFill>
              </a:rPr>
              <a:t> you.</a:t>
            </a:r>
            <a:endParaRPr lang="en-GB" sz="3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35500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10628100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/ Bullet Points /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0000" y="194400"/>
            <a:ext cx="11232000" cy="36004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2000" b="0" cap="all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/>
              <a:t>INTRODUCTION ARIAL REGULAR IN 20P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1112400"/>
            <a:ext cx="11232000" cy="4904757"/>
          </a:xfrm>
          <a:prstGeom prst="rect">
            <a:avLst/>
          </a:prstGeom>
        </p:spPr>
        <p:txBody>
          <a:bodyPr lIns="0"/>
          <a:lstStyle>
            <a:lvl1pPr marL="177800" indent="-177800">
              <a:buClr>
                <a:schemeClr val="accent5"/>
              </a:buClr>
              <a:buSzPct val="80000"/>
              <a:buFont typeface="Arial" pitchFamily="34" charset="0"/>
              <a:buChar char="■"/>
              <a:defRPr sz="1600" b="1">
                <a:latin typeface="Arial" pitchFamily="34" charset="0"/>
                <a:cs typeface="Arial" pitchFamily="34" charset="0"/>
              </a:defRPr>
            </a:lvl1pPr>
            <a:lvl2pPr marL="720725" indent="-263525">
              <a:spcBef>
                <a:spcPts val="500"/>
              </a:spcBef>
              <a:buClr>
                <a:schemeClr val="accent5"/>
              </a:buClr>
              <a:buSzPct val="80000"/>
              <a:buFont typeface="Arial" pitchFamily="34" charset="0"/>
              <a:buChar char="─"/>
              <a:defRPr sz="1400">
                <a:latin typeface="Arial" pitchFamily="34" charset="0"/>
                <a:cs typeface="Arial" pitchFamily="34" charset="0"/>
              </a:defRPr>
            </a:lvl2pPr>
            <a:lvl3pPr marL="1081088" indent="-166688">
              <a:spcBef>
                <a:spcPts val="500"/>
              </a:spcBef>
              <a:buClr>
                <a:schemeClr val="accent5"/>
              </a:buClr>
              <a:buSzPct val="80000"/>
              <a:buFont typeface="Arial" pitchFamily="34" charset="0"/>
              <a:buChar char="■"/>
              <a:defRPr sz="1200" i="0" baseline="0"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/>
              <a:t>The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rial 16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endParaRPr lang="de-DE" dirty="0"/>
          </a:p>
          <a:p>
            <a:pPr lvl="1"/>
            <a:r>
              <a:rPr lang="de-DE" dirty="0"/>
              <a:t>The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rial 14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regula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The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rial 12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regular</a:t>
            </a:r>
            <a:r>
              <a:rPr lang="de-DE" dirty="0"/>
              <a:t>.</a:t>
            </a:r>
          </a:p>
        </p:txBody>
      </p:sp>
      <p:sp>
        <p:nvSpPr>
          <p:cNvPr id="8" name="Textplatzhalt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80000" y="684001"/>
            <a:ext cx="11232000" cy="268287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buFontTx/>
              <a:buNone/>
              <a:defRPr sz="1600" b="1" cap="all" baseline="0">
                <a:solidFill>
                  <a:schemeClr val="accent5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/>
              <a:t>HEADLINE ARIAL BOLD IN 16P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87747D7-C7FF-4259-9A07-46F259070DF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289960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80001" y="194400"/>
            <a:ext cx="11232000" cy="360000"/>
          </a:xfrm>
          <a:prstGeom prst="rect">
            <a:avLst/>
          </a:prstGeom>
        </p:spPr>
        <p:txBody>
          <a:bodyPr/>
          <a:lstStyle>
            <a:lvl1pPr algn="l">
              <a:defRPr sz="1542" cap="all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pour modifier le style du titre</a:t>
            </a:r>
            <a:endParaRPr lang="de-DE" dirty="0"/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480001" y="684000"/>
            <a:ext cx="11232000" cy="270000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1270" b="1" cap="all" baseline="0">
                <a:solidFill>
                  <a:schemeClr val="accent5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E5CC24-920C-4589-851F-C66CED48AE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7905" y="6521005"/>
            <a:ext cx="613674" cy="241945"/>
          </a:xfrm>
        </p:spPr>
        <p:txBody>
          <a:bodyPr lIns="104287" tIns="52144" rIns="104287" bIns="52144"/>
          <a:lstStyle>
            <a:lvl1pPr>
              <a:defRPr/>
            </a:lvl1pPr>
          </a:lstStyle>
          <a:p>
            <a:fld id="{4B8C28CC-4086-4F5F-AA8D-309AC54F6387}" type="slidenum">
              <a:rPr lang="de-DE" altLang="fr-FR"/>
              <a:pPr/>
              <a:t>‹#›</a:t>
            </a:fld>
            <a:endParaRPr lang="de-DE" alt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01025-4D6A-4AE6-B7D4-B5B6A9A0FE4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08308" y="6521005"/>
            <a:ext cx="7555962" cy="241945"/>
          </a:xfrm>
        </p:spPr>
        <p:txBody>
          <a:bodyPr lIns="104287" tIns="52144" rIns="104287" bIns="52144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liaxis Deutschland  |  FRIATEC  |  Infrastructur  I  Agriapipe Conference 01-25 Noszvaj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80407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C1C09FA-CACB-4001-9307-2C94EDD5B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2336" y="933584"/>
            <a:ext cx="4978138" cy="4990831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17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itle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C7A0B-72C1-48C6-8A52-7E48F8BB8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24247" y="5024718"/>
            <a:ext cx="1586753" cy="147021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E8CB6C7-1564-4C9A-B97E-41FB7F333D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550" y="5667555"/>
            <a:ext cx="1505269" cy="719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5916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-Agenda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50" y="1660001"/>
            <a:ext cx="11259537" cy="4496959"/>
          </a:xfrm>
        </p:spPr>
        <p:txBody>
          <a:bodyPr/>
          <a:lstStyle>
            <a:lvl1pPr marL="341313" indent="-341313">
              <a:spcBef>
                <a:spcPts val="900"/>
              </a:spcBef>
              <a:buFont typeface="+mj-lt"/>
              <a:buAutoNum type="arabicPeriod"/>
              <a:defRPr b="1"/>
            </a:lvl1pPr>
            <a:lvl2pPr marL="365125" indent="0">
              <a:spcBef>
                <a:spcPts val="700"/>
              </a:spcBef>
              <a:buNone/>
              <a:defRPr sz="1800"/>
            </a:lvl2pPr>
            <a:lvl3pPr marL="354013" indent="11113">
              <a:spcBef>
                <a:spcPts val="700"/>
              </a:spcBef>
              <a:buNone/>
              <a:defRPr sz="1800"/>
            </a:lvl3pPr>
            <a:lvl4pPr marL="354013" indent="11113">
              <a:spcBef>
                <a:spcPts val="700"/>
              </a:spcBef>
              <a:buNone/>
              <a:defRPr sz="1800"/>
            </a:lvl4pPr>
            <a:lvl5pPr marL="354013" indent="11113">
              <a:spcBef>
                <a:spcPts val="700"/>
              </a:spcBef>
              <a:buNone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1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y Rainer Mueller</a:t>
            </a: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34DF7A-BEA9-4831-B46F-2B4DABD39A7D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02771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000" y="5914301"/>
            <a:ext cx="4115723" cy="525918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17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itle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227418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e make life 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gradFill flip="none" rotWithShape="1">
            <a:gsLst>
              <a:gs pos="50000">
                <a:schemeClr val="accent4"/>
              </a:gs>
              <a:gs pos="0">
                <a:schemeClr val="accent6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63550" y="476250"/>
            <a:ext cx="4712162" cy="592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4925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 dirty="0"/>
              <a:t>Pull-out subtitle in bold</a:t>
            </a:r>
          </a:p>
          <a:p>
            <a:pPr marL="0" indent="0">
              <a:buNone/>
            </a:pPr>
            <a:r>
              <a:rPr lang="en-GB" dirty="0"/>
              <a:t>Large pull-out paragraph in Century Gothic (18pt)</a:t>
            </a:r>
          </a:p>
          <a:p>
            <a:r>
              <a:rPr lang="en-GB" dirty="0"/>
              <a:t>Image area to the right measures 12.8cm x 19.3cm</a:t>
            </a:r>
          </a:p>
          <a:p>
            <a:r>
              <a:rPr lang="en-GB" dirty="0"/>
              <a:t>Always place images in the correct proportion</a:t>
            </a:r>
          </a:p>
          <a:p>
            <a:r>
              <a:rPr lang="en-GB" dirty="0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7378051-26A5-403A-8682-CA6DC79F2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359179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67999" y="5360670"/>
            <a:ext cx="4321171" cy="1110468"/>
          </a:xfrm>
        </p:spPr>
        <p:txBody>
          <a:bodyPr anchor="b" anchorCtr="0"/>
          <a:lstStyle>
            <a:lvl1pPr algn="l">
              <a:lnSpc>
                <a:spcPct val="95000"/>
              </a:lnSpc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divider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330860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67999" y="5360670"/>
            <a:ext cx="4321171" cy="1110468"/>
          </a:xfrm>
        </p:spPr>
        <p:txBody>
          <a:bodyPr anchor="b" anchorCtr="0"/>
          <a:lstStyle>
            <a:lvl1pPr algn="l">
              <a:lnSpc>
                <a:spcPct val="95000"/>
              </a:lnSpc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divider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701516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67999" y="5360670"/>
            <a:ext cx="4321171" cy="1110468"/>
          </a:xfrm>
        </p:spPr>
        <p:txBody>
          <a:bodyPr anchor="b" anchorCtr="0"/>
          <a:lstStyle>
            <a:lvl1pPr algn="l">
              <a:lnSpc>
                <a:spcPct val="95000"/>
              </a:lnSpc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divider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133252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000" y="5914301"/>
            <a:ext cx="4115723" cy="525918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17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2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itle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080641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000" y="5914301"/>
            <a:ext cx="4115723" cy="525918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17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itle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817281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 marL="341313" indent="-341313">
              <a:spcBef>
                <a:spcPts val="900"/>
              </a:spcBef>
              <a:buFont typeface="+mj-lt"/>
              <a:buAutoNum type="arabicPeriod"/>
              <a:defRPr b="1"/>
            </a:lvl1pPr>
            <a:lvl2pPr marL="365125" indent="0">
              <a:spcBef>
                <a:spcPts val="700"/>
              </a:spcBef>
              <a:buNone/>
              <a:defRPr sz="1800"/>
            </a:lvl2pPr>
            <a:lvl3pPr marL="354013" indent="11113">
              <a:spcBef>
                <a:spcPts val="700"/>
              </a:spcBef>
              <a:buNone/>
              <a:defRPr sz="1800"/>
            </a:lvl3pPr>
            <a:lvl4pPr marL="354013" indent="11113">
              <a:spcBef>
                <a:spcPts val="700"/>
              </a:spcBef>
              <a:buNone/>
              <a:defRPr sz="1800"/>
            </a:lvl4pPr>
            <a:lvl5pPr marL="354013" indent="11113">
              <a:spcBef>
                <a:spcPts val="700"/>
              </a:spcBef>
              <a:buNone/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29722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Agenda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50" y="1476000"/>
            <a:ext cx="11259537" cy="4669200"/>
          </a:xfrm>
        </p:spPr>
        <p:txBody>
          <a:bodyPr/>
          <a:lstStyle>
            <a:lvl1pPr marL="341313" indent="-341313">
              <a:spcBef>
                <a:spcPts val="900"/>
              </a:spcBef>
              <a:buFont typeface="+mj-lt"/>
              <a:buAutoNum type="arabicPeriod"/>
              <a:defRPr b="1"/>
            </a:lvl1pPr>
            <a:lvl2pPr marL="365125" indent="0">
              <a:spcBef>
                <a:spcPts val="700"/>
              </a:spcBef>
              <a:buNone/>
              <a:defRPr sz="1800"/>
            </a:lvl2pPr>
            <a:lvl3pPr marL="354013" indent="11113">
              <a:spcBef>
                <a:spcPts val="700"/>
              </a:spcBef>
              <a:buNone/>
              <a:defRPr sz="1800"/>
            </a:lvl3pPr>
            <a:lvl4pPr marL="354013" indent="11113">
              <a:spcBef>
                <a:spcPts val="700"/>
              </a:spcBef>
              <a:buNone/>
              <a:defRPr sz="1800"/>
            </a:lvl4pPr>
            <a:lvl5pPr marL="354013" indent="11113">
              <a:spcBef>
                <a:spcPts val="700"/>
              </a:spcBef>
              <a:buNone/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323711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10800000" cy="4669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732226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Al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10800000" cy="4669200"/>
          </a:xfrm>
        </p:spPr>
        <p:txBody>
          <a:bodyPr/>
          <a:lstStyle>
            <a:lvl1pPr marL="320675" indent="-320675">
              <a:spcBef>
                <a:spcPts val="1000"/>
              </a:spcBef>
              <a:defRPr sz="2400"/>
            </a:lvl1pPr>
            <a:lvl2pPr marL="560388" indent="-228600"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2pPr>
            <a:lvl3pPr marL="560388" indent="-228600"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560388" indent="-228600"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4pPr>
            <a:lvl5pPr marL="560388" indent="-228600"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55531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24814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8992171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/>
              <a:t>Mastertextformat bearbeiten</a:t>
            </a:r>
          </a:p>
          <a:p>
            <a:pPr marL="0" lvl="1" indent="0">
              <a:buNone/>
            </a:pPr>
            <a:r>
              <a:rPr lang="de-DE" b="1"/>
              <a:t>Zweite Ebene</a:t>
            </a:r>
          </a:p>
          <a:p>
            <a:pPr marL="0" lvl="2" indent="0">
              <a:buNone/>
            </a:pPr>
            <a:r>
              <a:rPr lang="de-DE" b="1"/>
              <a:t>Dritte Ebene</a:t>
            </a:r>
          </a:p>
          <a:p>
            <a:pPr marL="0" lvl="3" indent="0">
              <a:buNone/>
            </a:pPr>
            <a:r>
              <a:rPr lang="de-DE" b="1"/>
              <a:t>Vierte Ebene</a:t>
            </a:r>
          </a:p>
          <a:p>
            <a:pPr marL="0" lvl="4" indent="0">
              <a:buNone/>
            </a:pPr>
            <a:r>
              <a:rPr lang="de-DE" b="1"/>
              <a:t>Fünfte Ebene</a:t>
            </a:r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AB47CCE-C6DC-45C8-A6C5-8002B7573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72805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ull-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3166" y="1476000"/>
            <a:ext cx="8100000" cy="4669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8826500" y="1512000"/>
            <a:ext cx="2914650" cy="4633213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1"/>
            </a:lvl1pPr>
            <a:lvl2pPr marL="146050" indent="-146050">
              <a:lnSpc>
                <a:spcPct val="110000"/>
              </a:lnSpc>
              <a:spcBef>
                <a:spcPts val="200"/>
              </a:spcBef>
              <a:buFont typeface="Century Gothic" panose="020B0502020202020204" pitchFamily="34" charset="0"/>
              <a:buChar char="–"/>
              <a:defRPr sz="1200" b="1"/>
            </a:lvl2pPr>
            <a:lvl3pPr marL="146050" indent="-146050">
              <a:lnSpc>
                <a:spcPct val="110000"/>
              </a:lnSpc>
              <a:spcBef>
                <a:spcPts val="0"/>
              </a:spcBef>
              <a:buFont typeface="Century Gothic" panose="020B0502020202020204" pitchFamily="34" charset="0"/>
              <a:buChar char="–"/>
              <a:defRPr sz="1200" b="1"/>
            </a:lvl3pPr>
            <a:lvl4pPr marL="146050" indent="-146050">
              <a:lnSpc>
                <a:spcPct val="110000"/>
              </a:lnSpc>
              <a:spcBef>
                <a:spcPts val="0"/>
              </a:spcBef>
              <a:buFont typeface="Century Gothic" panose="020B0502020202020204" pitchFamily="34" charset="0"/>
              <a:buChar char="–"/>
              <a:defRPr sz="1200" b="1"/>
            </a:lvl4pPr>
            <a:lvl5pPr marL="146050" indent="-146050">
              <a:lnSpc>
                <a:spcPct val="110000"/>
              </a:lnSpc>
              <a:spcBef>
                <a:spcPts val="0"/>
              </a:spcBef>
              <a:buFont typeface="Century Gothic" panose="020B0502020202020204" pitchFamily="34" charset="0"/>
              <a:buChar char="–"/>
              <a:defRPr sz="1200" b="1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933501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umbn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3166" y="1476000"/>
            <a:ext cx="8100000" cy="4669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Image annotation</a:t>
            </a:r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Image anno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623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ull-ou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4140577" cy="4669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78564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ull-ou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spcBef>
                <a:spcPts val="400"/>
              </a:spcBef>
              <a:defRPr sz="1300"/>
            </a:lvl3pPr>
            <a:lvl4pPr>
              <a:spcBef>
                <a:spcPts val="400"/>
              </a:spcBef>
              <a:defRPr sz="1300"/>
            </a:lvl4pPr>
            <a:lvl5pPr>
              <a:spcBef>
                <a:spcPts val="400"/>
              </a:spcBef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37518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ula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gradFill flip="none" rotWithShape="1">
            <a:gsLst>
              <a:gs pos="50000">
                <a:schemeClr val="accent2"/>
              </a:gs>
              <a:gs pos="0">
                <a:schemeClr val="accent4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 bwMode="black">
          <a:xfrm>
            <a:off x="854529" y="1918380"/>
            <a:ext cx="2998788" cy="2998787"/>
          </a:xfrm>
          <a:prstGeom prst="ellipse">
            <a:avLst/>
          </a:prstGeom>
          <a:solidFill>
            <a:schemeClr val="bg1">
              <a:alpha val="60000"/>
            </a:schemeClr>
          </a:solidFill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 bwMode="black">
          <a:xfrm>
            <a:off x="4610100" y="1918380"/>
            <a:ext cx="2998788" cy="2998787"/>
          </a:xfrm>
          <a:prstGeom prst="ellipse">
            <a:avLst/>
          </a:prstGeom>
          <a:solidFill>
            <a:schemeClr val="bg1">
              <a:alpha val="60000"/>
            </a:schemeClr>
          </a:solidFill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 bwMode="black">
          <a:xfrm>
            <a:off x="8365671" y="1918380"/>
            <a:ext cx="2998788" cy="2998787"/>
          </a:xfrm>
          <a:prstGeom prst="ellipse">
            <a:avLst/>
          </a:prstGeom>
          <a:solidFill>
            <a:schemeClr val="bg1">
              <a:alpha val="60000"/>
            </a:schemeClr>
          </a:solidFill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90278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180000" y="180000"/>
            <a:ext cx="11833200" cy="6498000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245190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-ou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spcBef>
                <a:spcPts val="400"/>
              </a:spcBef>
              <a:defRPr sz="1300"/>
            </a:lvl3pPr>
            <a:lvl4pPr>
              <a:spcBef>
                <a:spcPts val="400"/>
              </a:spcBef>
              <a:defRPr sz="1300"/>
            </a:lvl4pPr>
            <a:lvl5pPr>
              <a:spcBef>
                <a:spcPts val="400"/>
              </a:spcBef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759200" y="1524000"/>
            <a:ext cx="6984000" cy="4632325"/>
          </a:xfrm>
        </p:spPr>
        <p:txBody>
          <a:bodyPr/>
          <a:lstStyle>
            <a:lvl1pPr marL="180000" indent="0">
              <a:lnSpc>
                <a:spcPct val="200000"/>
              </a:lnSpc>
              <a:buNone/>
              <a:defRPr sz="1000" b="1"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572639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-out with Char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>
            <a:lvl1pPr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buClr>
                <a:schemeClr val="bg1"/>
              </a:buClr>
              <a:defRPr sz="1300">
                <a:solidFill>
                  <a:schemeClr val="bg1"/>
                </a:solidFill>
              </a:defRPr>
            </a:lvl3pPr>
            <a:lvl4pPr>
              <a:spcBef>
                <a:spcPts val="400"/>
              </a:spcBef>
              <a:buClr>
                <a:schemeClr val="bg1"/>
              </a:buClr>
              <a:defRPr sz="1300">
                <a:solidFill>
                  <a:schemeClr val="bg1"/>
                </a:solidFill>
              </a:defRPr>
            </a:lvl4pPr>
            <a:lvl5pPr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759200" y="1524000"/>
            <a:ext cx="6984000" cy="4632325"/>
          </a:xfrm>
        </p:spPr>
        <p:txBody>
          <a:bodyPr/>
          <a:lstStyle>
            <a:lvl1pPr marL="180000" indent="0">
              <a:lnSpc>
                <a:spcPct val="200000"/>
              </a:lnSpc>
              <a:buNone/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430532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-out with Char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gradFill flip="none" rotWithShape="1">
            <a:gsLst>
              <a:gs pos="50000">
                <a:schemeClr val="accent2"/>
              </a:gs>
              <a:gs pos="0">
                <a:schemeClr val="accent4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>
            <a:lvl1pPr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buClr>
                <a:schemeClr val="bg1"/>
              </a:buClr>
              <a:defRPr sz="1300">
                <a:solidFill>
                  <a:schemeClr val="bg1"/>
                </a:solidFill>
              </a:defRPr>
            </a:lvl3pPr>
            <a:lvl4pPr>
              <a:spcBef>
                <a:spcPts val="400"/>
              </a:spcBef>
              <a:buClr>
                <a:schemeClr val="bg1"/>
              </a:buClr>
              <a:defRPr sz="1300">
                <a:solidFill>
                  <a:schemeClr val="bg1"/>
                </a:solidFill>
              </a:defRPr>
            </a:lvl4pPr>
            <a:lvl5pPr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759200" y="1524000"/>
            <a:ext cx="6984000" cy="4632325"/>
          </a:xfrm>
        </p:spPr>
        <p:txBody>
          <a:bodyPr/>
          <a:lstStyle>
            <a:lvl1pPr marL="180000" indent="0">
              <a:lnSpc>
                <a:spcPct val="200000"/>
              </a:lnSpc>
              <a:buNone/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517086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3"/>
          </p:nvPr>
        </p:nvSpPr>
        <p:spPr>
          <a:xfrm>
            <a:off x="463549" y="1533600"/>
            <a:ext cx="11261649" cy="4633200"/>
          </a:xfrm>
        </p:spPr>
        <p:txBody>
          <a:bodyPr/>
          <a:lstStyle>
            <a:lvl1pPr marL="180000" indent="0">
              <a:lnSpc>
                <a:spcPct val="200000"/>
              </a:lnSpc>
              <a:spcBef>
                <a:spcPts val="0"/>
              </a:spcBef>
              <a:buNone/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40293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  <a:p>
            <a:pPr marL="0" lvl="3" indent="0">
              <a:buNone/>
            </a:pPr>
            <a:r>
              <a:rPr lang="de-DE"/>
              <a:t>Vierte Ebene</a:t>
            </a:r>
          </a:p>
          <a:p>
            <a:pPr marL="0" lvl="4" indent="0">
              <a:buNone/>
            </a:pPr>
            <a:r>
              <a:rPr lang="de-DE"/>
              <a:t>Fünfte Ebene</a:t>
            </a:r>
            <a:endParaRPr lang="en-GB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>
                <a:solidFill>
                  <a:schemeClr val="accent1"/>
                </a:solidFill>
              </a:rPr>
              <a:t>Mastertextformat bearbeiten</a:t>
            </a:r>
          </a:p>
          <a:p>
            <a:pPr marL="0" lvl="1" indent="0">
              <a:buNone/>
            </a:pPr>
            <a:r>
              <a:rPr lang="de-DE" b="1">
                <a:solidFill>
                  <a:schemeClr val="accent1"/>
                </a:solidFill>
              </a:rPr>
              <a:t>Zweite Ebene</a:t>
            </a:r>
          </a:p>
          <a:p>
            <a:pPr marL="0" lvl="2" indent="0">
              <a:buNone/>
            </a:pPr>
            <a:r>
              <a:rPr lang="de-DE" b="1">
                <a:solidFill>
                  <a:schemeClr val="accent1"/>
                </a:solidFill>
              </a:rPr>
              <a:t>Dritte Ebene</a:t>
            </a:r>
          </a:p>
          <a:p>
            <a:pPr marL="0" lvl="3" indent="0">
              <a:buNone/>
            </a:pPr>
            <a:r>
              <a:rPr lang="de-DE" b="1">
                <a:solidFill>
                  <a:schemeClr val="accent1"/>
                </a:solidFill>
              </a:rPr>
              <a:t>Vierte Ebene</a:t>
            </a:r>
          </a:p>
          <a:p>
            <a:pPr marL="0" lvl="4" indent="0">
              <a:buNone/>
            </a:pPr>
            <a:r>
              <a:rPr lang="de-DE" b="1">
                <a:solidFill>
                  <a:schemeClr val="accent1"/>
                </a:solidFill>
              </a:rPr>
              <a:t>Fünfte Ebene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60F4152-1AF9-4A0C-9AB4-5CE352CFA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275558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3"/>
          </p:nvPr>
        </p:nvSpPr>
        <p:spPr>
          <a:xfrm>
            <a:off x="463549" y="1533600"/>
            <a:ext cx="11261649" cy="4633200"/>
          </a:xfrm>
        </p:spPr>
        <p:txBody>
          <a:bodyPr/>
          <a:lstStyle>
            <a:lvl1pPr marL="180000" indent="0">
              <a:lnSpc>
                <a:spcPct val="200000"/>
              </a:lnSpc>
              <a:spcBef>
                <a:spcPts val="0"/>
              </a:spcBef>
              <a:buNone/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433635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899256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186027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tx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>
                <a:solidFill>
                  <a:schemeClr val="bg1"/>
                </a:solidFill>
              </a:rPr>
              <a:t>Thank</a:t>
            </a:r>
            <a:r>
              <a:rPr lang="en-GB" sz="3400" b="1" baseline="0">
                <a:solidFill>
                  <a:schemeClr val="bg1"/>
                </a:solidFill>
              </a:rPr>
              <a:t> you.</a:t>
            </a:r>
            <a:endParaRPr lang="en-GB" sz="3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6888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38362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53C037-71F7-4403-92F4-C497C46DC0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80D1413-8D7B-4099-9D21-E1BAC781E2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5DAC0D0-8E38-40E9-95F7-344C6B27B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CE76707-7B3D-40D1-8FA3-148457374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1630B5-349C-471E-B8D6-39226681B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80AB6-5EB7-4683-863F-9180B53653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891416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/>
              <a:t>FRIALOC</a:t>
            </a:r>
            <a:r>
              <a:rPr lang="de-DE" baseline="30000">
                <a:solidFill>
                  <a:schemeClr val="accent1"/>
                </a:solidFill>
              </a:rPr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71375573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/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/>
              <a:t>®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86A0241-9505-478C-BDB3-90354CD0B7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05619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CF4225-DE32-48AD-BE55-319C4822D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1306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CF4225-DE32-48AD-BE55-319C4822D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Agenda/Conten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pPr lvl="1"/>
            <a:r>
              <a:rPr lang="en-GB"/>
              <a:t>Supporting detail if required</a:t>
            </a:r>
          </a:p>
          <a:p>
            <a:pPr lvl="1"/>
            <a:r>
              <a:rPr lang="en-GB"/>
              <a:t>Supporting detail if required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Presented by: (Level 1)</a:t>
            </a:r>
          </a:p>
          <a:p>
            <a:pPr lvl="1"/>
            <a:r>
              <a:rPr lang="en-GB"/>
              <a:t>Name Surname (Level 2)</a:t>
            </a:r>
          </a:p>
          <a:p>
            <a:pPr lvl="1"/>
            <a:r>
              <a:rPr lang="en-GB"/>
              <a:t>Name Surname</a:t>
            </a:r>
          </a:p>
          <a:p>
            <a:pPr lvl="1"/>
            <a:endParaRPr lang="en-GB"/>
          </a:p>
          <a:p>
            <a:r>
              <a:rPr lang="en-GB"/>
              <a:t>Date: (Level 1)</a:t>
            </a:r>
          </a:p>
          <a:p>
            <a:pPr lvl="1"/>
            <a:r>
              <a:rPr lang="en-GB"/>
              <a:t>00.00.00 (Level 2)</a:t>
            </a:r>
          </a:p>
          <a:p>
            <a:endParaRPr lang="en-GB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03A6B58-F225-40F8-BBF9-476BEA62D4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0892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DDF39C-2CD0-4F48-A4AD-0CB1C9646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56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DDF39C-2CD0-4F48-A4AD-0CB1C9646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2CD9C9-94AD-4572-9C3F-804BC35BC9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Content </a:t>
            </a:r>
            <a:r>
              <a:rPr lang="de-DE" err="1"/>
              <a:t>left</a:t>
            </a:r>
            <a:r>
              <a:rPr lang="de-DE"/>
              <a:t> and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big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/>
              <a:t>Pull-out subtitle in bold</a:t>
            </a:r>
          </a:p>
          <a:p>
            <a:pPr marL="0" indent="0">
              <a:buNone/>
            </a:pPr>
            <a:r>
              <a:rPr lang="en-GB"/>
              <a:t>Large pull-out paragraph in Century Gothic (18pt)</a:t>
            </a:r>
          </a:p>
          <a:p>
            <a:r>
              <a:rPr lang="en-GB"/>
              <a:t>Image area to the right measures 12.8cm x 19.3cm</a:t>
            </a:r>
          </a:p>
          <a:p>
            <a:r>
              <a:rPr lang="en-GB"/>
              <a:t>Always place images in the correct proportion</a:t>
            </a:r>
          </a:p>
          <a:p>
            <a:r>
              <a:rPr lang="en-GB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963FE11-4906-4CA6-B780-0CFB1066D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4565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D8B11A3-1332-46C3-A632-8C91BEEE9BBD}"/>
              </a:ext>
            </a:extLst>
          </p:cNvPr>
          <p:cNvGrpSpPr/>
          <p:nvPr userDrawn="1"/>
        </p:nvGrpSpPr>
        <p:grpSpPr>
          <a:xfrm>
            <a:off x="696452" y="4790119"/>
            <a:ext cx="10910870" cy="1470211"/>
            <a:chOff x="696452" y="4790119"/>
            <a:chExt cx="10910870" cy="1470211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FDC06DFC-5FDD-41B9-8974-A962B6021B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452" y="5411653"/>
              <a:ext cx="1505269" cy="719911"/>
            </a:xfrm>
            <a:prstGeom prst="rect">
              <a:avLst/>
            </a:prstGeom>
          </p:spPr>
        </p:pic>
        <p:pic>
          <p:nvPicPr>
            <p:cNvPr id="13" name="Picture 4">
              <a:extLst>
                <a:ext uri="{FF2B5EF4-FFF2-40B4-BE49-F238E27FC236}">
                  <a16:creationId xmlns:a16="http://schemas.microsoft.com/office/drawing/2014/main" id="{2A371C7E-0FD7-4C84-9951-0AEA3A21A4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683" t="11401" r="14795" b="14142"/>
            <a:stretch/>
          </p:blipFill>
          <p:spPr>
            <a:xfrm>
              <a:off x="10020569" y="4790119"/>
              <a:ext cx="1586753" cy="1470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895767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4C8AE1-375D-44AB-9180-4D6C7A4EDC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5469196-C49B-4FCE-8E83-8F932A7877D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7193" y="4779034"/>
            <a:ext cx="2290303" cy="200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07109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DE09527-A4A8-4B47-823D-9B893CC94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40315CD-62D3-41E9-8D7F-29AD3F32A5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55015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003CE9B-A555-490C-B9E5-AB4513083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4030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Kamera enthält.&#10;&#10;Automatisch generierte Beschreibung">
            <a:extLst>
              <a:ext uri="{FF2B5EF4-FFF2-40B4-BE49-F238E27FC236}">
                <a16:creationId xmlns:a16="http://schemas.microsoft.com/office/drawing/2014/main" id="{B7391E20-E079-43D3-B730-5BF6C83BE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50229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BB2291A-F9E4-4F96-9828-7485CA4C32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34108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2C09FD1-0731-4B6D-A29B-C30DF93EF6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62912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7553AA1-77BA-4B10-A0FB-679D275C45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09335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4200FBA-4EE1-489C-9E9E-741644AE5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880495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324337650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16934720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C2203FC-4028-458A-87C8-D89C9DD7E387}"/>
              </a:ext>
            </a:extLst>
          </p:cNvPr>
          <p:cNvGrpSpPr/>
          <p:nvPr userDrawn="1"/>
        </p:nvGrpSpPr>
        <p:grpSpPr>
          <a:xfrm>
            <a:off x="687826" y="4536952"/>
            <a:ext cx="11272399" cy="2009955"/>
            <a:chOff x="687826" y="4536952"/>
            <a:chExt cx="11272399" cy="2009955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1392CF82-DDA4-43F4-B41E-2179DC9FE1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9922" y="4536952"/>
              <a:ext cx="2290303" cy="2009955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3C318D26-E017-4C6A-8583-E31BE51FB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826" y="5413775"/>
              <a:ext cx="1446441" cy="7314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7454699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422866692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291841750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 dirty="0"/>
              <a:t>Subheads to text content are styled in bold and coloured </a:t>
            </a:r>
            <a:br>
              <a:rPr lang="en-GB" dirty="0"/>
            </a:br>
            <a:r>
              <a:rPr lang="en-GB" dirty="0"/>
              <a:t>in ‘Accent 1’ blue in the template colour theme:</a:t>
            </a:r>
          </a:p>
          <a:p>
            <a:r>
              <a:rPr lang="en-GB" dirty="0"/>
              <a:t>Placeholders are included to the right of this slide layout</a:t>
            </a:r>
          </a:p>
          <a:p>
            <a:r>
              <a:rPr lang="en-GB" dirty="0"/>
              <a:t>Thumbnail image areas are 4.8cm x 8.1cm</a:t>
            </a:r>
          </a:p>
          <a:p>
            <a:r>
              <a:rPr lang="en-GB" dirty="0"/>
              <a:t>Optional annotations can be added to the images</a:t>
            </a:r>
          </a:p>
          <a:p>
            <a:pPr lvl="1"/>
            <a:r>
              <a:rPr lang="en-GB" dirty="0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1398F60-94DF-48B0-A05D-CEF06D975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79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 dirty="0"/>
              <a:t>Pull-out subtitle in bold</a:t>
            </a:r>
          </a:p>
          <a:p>
            <a:pPr marL="0" indent="0">
              <a:buNone/>
            </a:pPr>
            <a:r>
              <a:rPr lang="en-GB" dirty="0"/>
              <a:t>Large pull-out paragraph in Century Gothic (18pt)</a:t>
            </a:r>
          </a:p>
          <a:p>
            <a:r>
              <a:rPr lang="en-GB" dirty="0"/>
              <a:t>Image area to the right measures 12.8cm x 19.3cm</a:t>
            </a:r>
          </a:p>
          <a:p>
            <a:r>
              <a:rPr lang="en-GB" dirty="0"/>
              <a:t>Always place images in the correct proportion</a:t>
            </a:r>
          </a:p>
          <a:p>
            <a:r>
              <a:rPr lang="en-GB" dirty="0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7378051-26A5-403A-8682-CA6DC79F2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329403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8992171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/>
              <a:t>Mastertextformat bearbeiten</a:t>
            </a:r>
          </a:p>
          <a:p>
            <a:pPr marL="0" lvl="1" indent="0">
              <a:buNone/>
            </a:pPr>
            <a:r>
              <a:rPr lang="de-DE" b="1"/>
              <a:t>Zweite Ebene</a:t>
            </a:r>
          </a:p>
          <a:p>
            <a:pPr marL="0" lvl="2" indent="0">
              <a:buNone/>
            </a:pPr>
            <a:r>
              <a:rPr lang="de-DE" b="1"/>
              <a:t>Dritte Ebene</a:t>
            </a:r>
          </a:p>
          <a:p>
            <a:pPr marL="0" lvl="3" indent="0">
              <a:buNone/>
            </a:pPr>
            <a:r>
              <a:rPr lang="de-DE" b="1"/>
              <a:t>Vierte Ebene</a:t>
            </a:r>
          </a:p>
          <a:p>
            <a:pPr marL="0" lvl="4" indent="0">
              <a:buNone/>
            </a:pPr>
            <a:r>
              <a:rPr lang="de-DE" b="1"/>
              <a:t>Fünfte Ebene</a:t>
            </a:r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AB47CCE-C6DC-45C8-A6C5-8002B7573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27821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  <a:p>
            <a:pPr marL="0" lvl="3" indent="0">
              <a:buNone/>
            </a:pPr>
            <a:r>
              <a:rPr lang="de-DE"/>
              <a:t>Vierte Ebene</a:t>
            </a:r>
          </a:p>
          <a:p>
            <a:pPr marL="0" lvl="4" indent="0">
              <a:buNone/>
            </a:pPr>
            <a:r>
              <a:rPr lang="de-DE"/>
              <a:t>Fünfte Ebene</a:t>
            </a:r>
            <a:endParaRPr lang="en-GB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>
                <a:solidFill>
                  <a:schemeClr val="accent1"/>
                </a:solidFill>
              </a:rPr>
              <a:t>Mastertextformat bearbeiten</a:t>
            </a:r>
          </a:p>
          <a:p>
            <a:pPr marL="0" lvl="1" indent="0">
              <a:buNone/>
            </a:pPr>
            <a:r>
              <a:rPr lang="de-DE" b="1">
                <a:solidFill>
                  <a:schemeClr val="accent1"/>
                </a:solidFill>
              </a:rPr>
              <a:t>Zweite Ebene</a:t>
            </a:r>
          </a:p>
          <a:p>
            <a:pPr marL="0" lvl="2" indent="0">
              <a:buNone/>
            </a:pPr>
            <a:r>
              <a:rPr lang="de-DE" b="1">
                <a:solidFill>
                  <a:schemeClr val="accent1"/>
                </a:solidFill>
              </a:rPr>
              <a:t>Dritte Ebene</a:t>
            </a:r>
          </a:p>
          <a:p>
            <a:pPr marL="0" lvl="3" indent="0">
              <a:buNone/>
            </a:pPr>
            <a:r>
              <a:rPr lang="de-DE" b="1">
                <a:solidFill>
                  <a:schemeClr val="accent1"/>
                </a:solidFill>
              </a:rPr>
              <a:t>Vierte Ebene</a:t>
            </a:r>
          </a:p>
          <a:p>
            <a:pPr marL="0" lvl="4" indent="0">
              <a:buNone/>
            </a:pPr>
            <a:r>
              <a:rPr lang="de-DE" b="1">
                <a:solidFill>
                  <a:schemeClr val="accent1"/>
                </a:solidFill>
              </a:rPr>
              <a:t>Fünfte Ebene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60F4152-1AF9-4A0C-9AB4-5CE352CFA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7139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D8B11A3-1332-46C3-A632-8C91BEEE9BBD}"/>
              </a:ext>
            </a:extLst>
          </p:cNvPr>
          <p:cNvGrpSpPr/>
          <p:nvPr userDrawn="1"/>
        </p:nvGrpSpPr>
        <p:grpSpPr>
          <a:xfrm>
            <a:off x="696452" y="4790119"/>
            <a:ext cx="10910870" cy="1470211"/>
            <a:chOff x="696452" y="4790119"/>
            <a:chExt cx="10910870" cy="1470211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FDC06DFC-5FDD-41B9-8974-A962B6021B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452" y="5411653"/>
              <a:ext cx="1505269" cy="719911"/>
            </a:xfrm>
            <a:prstGeom prst="rect">
              <a:avLst/>
            </a:prstGeom>
          </p:spPr>
        </p:pic>
        <p:pic>
          <p:nvPicPr>
            <p:cNvPr id="13" name="Picture 4">
              <a:extLst>
                <a:ext uri="{FF2B5EF4-FFF2-40B4-BE49-F238E27FC236}">
                  <a16:creationId xmlns:a16="http://schemas.microsoft.com/office/drawing/2014/main" id="{2A371C7E-0FD7-4C84-9951-0AEA3A21A4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683" t="11401" r="14795" b="14142"/>
            <a:stretch/>
          </p:blipFill>
          <p:spPr>
            <a:xfrm>
              <a:off x="10020569" y="4790119"/>
              <a:ext cx="1586753" cy="1470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89666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C2203FC-4028-458A-87C8-D89C9DD7E387}"/>
              </a:ext>
            </a:extLst>
          </p:cNvPr>
          <p:cNvGrpSpPr/>
          <p:nvPr userDrawn="1"/>
        </p:nvGrpSpPr>
        <p:grpSpPr>
          <a:xfrm>
            <a:off x="687826" y="4536952"/>
            <a:ext cx="11272399" cy="2009955"/>
            <a:chOff x="687826" y="4536952"/>
            <a:chExt cx="11272399" cy="2009955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1392CF82-DDA4-43F4-B41E-2179DC9FE1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9922" y="4536952"/>
              <a:ext cx="2290303" cy="2009955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3C318D26-E017-4C6A-8583-E31BE51FB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826" y="5413775"/>
              <a:ext cx="1446441" cy="7314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965449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400" b="1" noProof="0">
                <a:solidFill>
                  <a:schemeClr val="bg1"/>
                </a:solidFill>
              </a:rPr>
              <a:t>Vielen Dank</a:t>
            </a:r>
            <a:r>
              <a:rPr lang="de-DE" sz="3400" b="1" baseline="0" noProof="0">
                <a:solidFill>
                  <a:schemeClr val="bg1"/>
                </a:solidFill>
              </a:rPr>
              <a:t>.</a:t>
            </a:r>
            <a:endParaRPr lang="de-DE" sz="34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53564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accent1"/>
                </a:solidFill>
              </a:rPr>
              <a:t>Thank</a:t>
            </a:r>
            <a:r>
              <a:rPr lang="en-GB" sz="3400" b="1" baseline="0" dirty="0">
                <a:solidFill>
                  <a:schemeClr val="accent1"/>
                </a:solidFill>
              </a:rPr>
              <a:t> you.</a:t>
            </a:r>
            <a:endParaRPr lang="en-GB" sz="3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0460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bg1"/>
                </a:solidFill>
              </a:rPr>
              <a:t>Thank</a:t>
            </a:r>
            <a:r>
              <a:rPr lang="en-GB" sz="3400" b="1" baseline="0" dirty="0">
                <a:solidFill>
                  <a:schemeClr val="bg1"/>
                </a:solidFill>
              </a:rPr>
              <a:t> you.</a:t>
            </a:r>
            <a:endParaRPr lang="en-GB" sz="3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06771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156744965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aliaxis.d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A9D2B4-1CBE-4EF8-9CDC-9ADFAD5C54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70" y="1801935"/>
            <a:ext cx="3163060" cy="2775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00771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4C8AE1-375D-44AB-9180-4D6C7A4EDC2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5469196-C49B-4FCE-8E83-8F932A7877DC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7193" y="4779034"/>
            <a:ext cx="2290303" cy="200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4982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DE09527-A4A8-4B47-823D-9B893CC946D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40315CD-62D3-41E9-8D7F-29AD3F32A5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67817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003CE9B-A555-490C-B9E5-AB4513083FE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09525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Kamera enthält.&#10;&#10;Automatisch generierte Beschreibung">
            <a:extLst>
              <a:ext uri="{FF2B5EF4-FFF2-40B4-BE49-F238E27FC236}">
                <a16:creationId xmlns:a16="http://schemas.microsoft.com/office/drawing/2014/main" id="{B7391E20-E079-43D3-B730-5BF6C83BED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60844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BB2291A-F9E4-4F96-9828-7485CA4C320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81900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2C09FD1-0731-4B6D-A29B-C30DF93EF6E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99990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7553AA1-77BA-4B10-A0FB-679D275C458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7586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4200FBA-4EE1-489C-9E9E-741644AE5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70750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accent1"/>
                </a:solidFill>
              </a:rPr>
              <a:t>Thank</a:t>
            </a:r>
            <a:r>
              <a:rPr lang="en-GB" sz="3400" b="1" baseline="0" dirty="0">
                <a:solidFill>
                  <a:schemeClr val="accent1"/>
                </a:solidFill>
              </a:rPr>
              <a:t> you.</a:t>
            </a:r>
            <a:endParaRPr lang="en-GB" sz="3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3114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339777192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409182159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52765744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17289090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 dirty="0"/>
              <a:t>Subheads to text content are styled in bold and coloured </a:t>
            </a:r>
            <a:br>
              <a:rPr lang="en-GB" dirty="0"/>
            </a:br>
            <a:r>
              <a:rPr lang="en-GB" dirty="0"/>
              <a:t>in ‘Accent 1’ blue in the template colour theme:</a:t>
            </a:r>
          </a:p>
          <a:p>
            <a:r>
              <a:rPr lang="en-GB" dirty="0"/>
              <a:t>Placeholders are included to the right of this slide layout</a:t>
            </a:r>
          </a:p>
          <a:p>
            <a:r>
              <a:rPr lang="en-GB" dirty="0"/>
              <a:t>Thumbnail image areas are 4.8cm x 8.1cm</a:t>
            </a:r>
          </a:p>
          <a:p>
            <a:r>
              <a:rPr lang="en-GB" dirty="0"/>
              <a:t>Optional annotations can be added to the images</a:t>
            </a:r>
          </a:p>
          <a:p>
            <a:pPr lvl="1"/>
            <a:r>
              <a:rPr lang="en-GB" dirty="0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1398F60-94DF-48B0-A05D-CEF06D975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7789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 dirty="0"/>
              <a:t>Pull-out subtitle in bold</a:t>
            </a:r>
          </a:p>
          <a:p>
            <a:pPr marL="0" indent="0">
              <a:buNone/>
            </a:pPr>
            <a:r>
              <a:rPr lang="en-GB" dirty="0"/>
              <a:t>Large pull-out paragraph in Century Gothic (18pt)</a:t>
            </a:r>
          </a:p>
          <a:p>
            <a:r>
              <a:rPr lang="en-GB" dirty="0"/>
              <a:t>Image area to the right measures 12.8cm x 19.3cm</a:t>
            </a:r>
          </a:p>
          <a:p>
            <a:r>
              <a:rPr lang="en-GB" dirty="0"/>
              <a:t>Always place images in the correct proportion</a:t>
            </a:r>
          </a:p>
          <a:p>
            <a:r>
              <a:rPr lang="en-GB" dirty="0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7378051-26A5-403A-8682-CA6DC79F2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50838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060964939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/>
              <a:t>Mastertextformat bearbeiten</a:t>
            </a:r>
          </a:p>
          <a:p>
            <a:pPr marL="0" lvl="1" indent="0">
              <a:buNone/>
            </a:pPr>
            <a:r>
              <a:rPr lang="de-DE" b="1"/>
              <a:t>Zweite Ebene</a:t>
            </a:r>
          </a:p>
          <a:p>
            <a:pPr marL="0" lvl="2" indent="0">
              <a:buNone/>
            </a:pPr>
            <a:r>
              <a:rPr lang="de-DE" b="1"/>
              <a:t>Dritte Ebene</a:t>
            </a:r>
          </a:p>
          <a:p>
            <a:pPr marL="0" lvl="3" indent="0">
              <a:buNone/>
            </a:pPr>
            <a:r>
              <a:rPr lang="de-DE" b="1"/>
              <a:t>Vierte Ebene</a:t>
            </a:r>
          </a:p>
          <a:p>
            <a:pPr marL="0" lvl="4" indent="0">
              <a:buNone/>
            </a:pPr>
            <a:r>
              <a:rPr lang="de-DE" b="1"/>
              <a:t>Fünfte Ebene</a:t>
            </a:r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AB47CCE-C6DC-45C8-A6C5-8002B7573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30803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  <a:p>
            <a:pPr marL="0" lvl="3" indent="0">
              <a:buNone/>
            </a:pPr>
            <a:r>
              <a:rPr lang="de-DE"/>
              <a:t>Vierte Ebene</a:t>
            </a:r>
          </a:p>
          <a:p>
            <a:pPr marL="0" lvl="4" indent="0">
              <a:buNone/>
            </a:pPr>
            <a:r>
              <a:rPr lang="de-DE"/>
              <a:t>Fünfte Ebene</a:t>
            </a:r>
            <a:endParaRPr lang="en-GB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>
                <a:solidFill>
                  <a:schemeClr val="accent1"/>
                </a:solidFill>
              </a:rPr>
              <a:t>Mastertextformat bearbeiten</a:t>
            </a:r>
          </a:p>
          <a:p>
            <a:pPr marL="0" lvl="1" indent="0">
              <a:buNone/>
            </a:pPr>
            <a:r>
              <a:rPr lang="de-DE" b="1">
                <a:solidFill>
                  <a:schemeClr val="accent1"/>
                </a:solidFill>
              </a:rPr>
              <a:t>Zweite Ebene</a:t>
            </a:r>
          </a:p>
          <a:p>
            <a:pPr marL="0" lvl="2" indent="0">
              <a:buNone/>
            </a:pPr>
            <a:r>
              <a:rPr lang="de-DE" b="1">
                <a:solidFill>
                  <a:schemeClr val="accent1"/>
                </a:solidFill>
              </a:rPr>
              <a:t>Dritte Ebene</a:t>
            </a:r>
          </a:p>
          <a:p>
            <a:pPr marL="0" lvl="3" indent="0">
              <a:buNone/>
            </a:pPr>
            <a:r>
              <a:rPr lang="de-DE" b="1">
                <a:solidFill>
                  <a:schemeClr val="accent1"/>
                </a:solidFill>
              </a:rPr>
              <a:t>Vierte Ebene</a:t>
            </a:r>
          </a:p>
          <a:p>
            <a:pPr marL="0" lvl="4" indent="0">
              <a:buNone/>
            </a:pPr>
            <a:r>
              <a:rPr lang="de-DE" b="1">
                <a:solidFill>
                  <a:schemeClr val="accent1"/>
                </a:solidFill>
              </a:rPr>
              <a:t>Fünfte Ebene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60F4152-1AF9-4A0C-9AB4-5CE352CFA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677386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D8B11A3-1332-46C3-A632-8C91BEEE9BBD}"/>
              </a:ext>
            </a:extLst>
          </p:cNvPr>
          <p:cNvGrpSpPr/>
          <p:nvPr userDrawn="1"/>
        </p:nvGrpSpPr>
        <p:grpSpPr>
          <a:xfrm>
            <a:off x="696452" y="4790119"/>
            <a:ext cx="10910870" cy="1470211"/>
            <a:chOff x="696452" y="4790119"/>
            <a:chExt cx="10910870" cy="1470211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FDC06DFC-5FDD-41B9-8974-A962B6021B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452" y="5411653"/>
              <a:ext cx="1505269" cy="719911"/>
            </a:xfrm>
            <a:prstGeom prst="rect">
              <a:avLst/>
            </a:prstGeom>
          </p:spPr>
        </p:pic>
        <p:pic>
          <p:nvPicPr>
            <p:cNvPr id="13" name="Picture 4">
              <a:extLst>
                <a:ext uri="{FF2B5EF4-FFF2-40B4-BE49-F238E27FC236}">
                  <a16:creationId xmlns:a16="http://schemas.microsoft.com/office/drawing/2014/main" id="{2A371C7E-0FD7-4C84-9951-0AEA3A21A4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683" t="11401" r="14795" b="14142"/>
            <a:stretch/>
          </p:blipFill>
          <p:spPr>
            <a:xfrm>
              <a:off x="10020569" y="4790119"/>
              <a:ext cx="1586753" cy="1470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503251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C2203FC-4028-458A-87C8-D89C9DD7E387}"/>
              </a:ext>
            </a:extLst>
          </p:cNvPr>
          <p:cNvGrpSpPr/>
          <p:nvPr userDrawn="1"/>
        </p:nvGrpSpPr>
        <p:grpSpPr>
          <a:xfrm>
            <a:off x="687826" y="4536952"/>
            <a:ext cx="11272399" cy="2009955"/>
            <a:chOff x="687826" y="4536952"/>
            <a:chExt cx="11272399" cy="2009955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1392CF82-DDA4-43F4-B41E-2179DC9FE1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9922" y="4536952"/>
              <a:ext cx="2290303" cy="2009955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3C318D26-E017-4C6A-8583-E31BE51FB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826" y="5413775"/>
              <a:ext cx="1446441" cy="7314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41851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DE09527-A4A8-4B47-823D-9B893CC94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40315CD-62D3-41E9-8D7F-29AD3F32A5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691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119803524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bg1"/>
                </a:solidFill>
              </a:rPr>
              <a:t>Thank</a:t>
            </a:r>
            <a:r>
              <a:rPr lang="en-GB" sz="3400" b="1" baseline="0" dirty="0">
                <a:solidFill>
                  <a:schemeClr val="bg1"/>
                </a:solidFill>
              </a:rPr>
              <a:t> you.</a:t>
            </a:r>
            <a:endParaRPr lang="en-GB" sz="3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11402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accent1"/>
                </a:solidFill>
              </a:rPr>
              <a:t>Thank</a:t>
            </a:r>
            <a:r>
              <a:rPr lang="en-GB" sz="3400" b="1" baseline="0" dirty="0">
                <a:solidFill>
                  <a:schemeClr val="accent1"/>
                </a:solidFill>
              </a:rPr>
              <a:t> you.</a:t>
            </a:r>
            <a:endParaRPr lang="en-GB" sz="3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97440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66911615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aliaxis.d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A9D2B4-1CBE-4EF8-9CDC-9ADFAD5C5483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70" y="1801935"/>
            <a:ext cx="3163060" cy="2775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85863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/>
              <a:t>Headline</a:t>
            </a:r>
            <a:br>
              <a:rPr lang="en-US"/>
            </a:br>
            <a:r>
              <a:rPr lang="en-US" err="1"/>
              <a:t>Headline</a:t>
            </a:r>
            <a:endParaRPr lang="en-US"/>
          </a:p>
          <a:p>
            <a:r>
              <a:rPr lang="en-US"/>
              <a:t>Headline</a:t>
            </a:r>
          </a:p>
          <a:p>
            <a:pPr lvl="1"/>
            <a:r>
              <a:rPr lang="en-US"/>
              <a:t>Subline</a:t>
            </a:r>
          </a:p>
          <a:p>
            <a:pPr lvl="1"/>
            <a:r>
              <a:rPr lang="en-US"/>
              <a:t>Subline</a:t>
            </a:r>
          </a:p>
          <a:p>
            <a:pPr lvl="1"/>
            <a:r>
              <a:rPr lang="en-US"/>
              <a:t>Subline</a:t>
            </a:r>
            <a:endParaRPr lang="en-GB"/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374" y="5861476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Surname</a:t>
            </a:r>
          </a:p>
          <a:p>
            <a:r>
              <a:rPr lang="en-US"/>
              <a:t>00.00.00</a:t>
            </a:r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C9F060E-1CC1-4457-B878-846A45EA4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03949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CF4225-DE32-48AD-BE55-319C4822D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65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CF4225-DE32-48AD-BE55-319C4822D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Agenda/Conten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pPr lvl="1"/>
            <a:r>
              <a:rPr lang="en-GB"/>
              <a:t>Supporting detail if required</a:t>
            </a:r>
          </a:p>
          <a:p>
            <a:pPr lvl="1"/>
            <a:r>
              <a:rPr lang="en-GB"/>
              <a:t>Supporting detail if required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Presented by: (Level 1)</a:t>
            </a:r>
          </a:p>
          <a:p>
            <a:pPr lvl="1"/>
            <a:r>
              <a:rPr lang="en-GB"/>
              <a:t>Name Surname (Level 2)</a:t>
            </a:r>
          </a:p>
          <a:p>
            <a:pPr lvl="1"/>
            <a:r>
              <a:rPr lang="en-GB"/>
              <a:t>Name Surname</a:t>
            </a:r>
          </a:p>
          <a:p>
            <a:pPr lvl="1"/>
            <a:endParaRPr lang="en-GB"/>
          </a:p>
          <a:p>
            <a:r>
              <a:rPr lang="en-GB"/>
              <a:t>Date: (Level 1)</a:t>
            </a:r>
          </a:p>
          <a:p>
            <a:pPr lvl="1"/>
            <a:r>
              <a:rPr lang="en-GB"/>
              <a:t>00.00.00 (Level 2)</a:t>
            </a:r>
          </a:p>
          <a:p>
            <a:endParaRPr lang="en-GB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03A6B58-F225-40F8-BBF9-476BEA62D4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988553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/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/>
              <a:t>®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86A0241-9505-478C-BDB3-90354CD0B7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0266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/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/>
              <a:t>®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4BC37A4-29E9-4FA2-914B-07FC6ED849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52319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8566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37ED9D2-4536-4E83-B485-E4F0D33909E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476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>
                <a:solidFill>
                  <a:schemeClr val="accent1"/>
                </a:solidFill>
              </a:rPr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341C55E-5897-4C0C-8797-55F8F95B9D9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069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aliaxis.d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A9D2B4-1CBE-4EF8-9CDC-9ADFAD5C54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70" y="1801935"/>
            <a:ext cx="3163060" cy="2775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25227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0B9999-360C-425C-9148-74005C74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4854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0B9999-360C-425C-9148-74005C74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499D9E-7B28-44C5-AF7B-543B80116B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Content </a:t>
            </a:r>
            <a:r>
              <a:rPr lang="de-DE" err="1"/>
              <a:t>left</a:t>
            </a:r>
            <a:r>
              <a:rPr lang="de-DE"/>
              <a:t> and </a:t>
            </a:r>
            <a:r>
              <a:rPr lang="de-DE" err="1"/>
              <a:t>pictures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/>
              <a:t>Subheads to text content are styled in bold and coloured </a:t>
            </a:r>
            <a:br>
              <a:rPr lang="en-GB"/>
            </a:br>
            <a:r>
              <a:rPr lang="en-GB"/>
              <a:t>in ‘Accent 1’ blue in the template colour theme:</a:t>
            </a:r>
          </a:p>
          <a:p>
            <a:r>
              <a:rPr lang="en-GB"/>
              <a:t>Placeholders are included to the right of this slide layout</a:t>
            </a:r>
          </a:p>
          <a:p>
            <a:r>
              <a:rPr lang="en-GB"/>
              <a:t>Thumbnail image areas are 4.8cm x 8.1cm</a:t>
            </a:r>
          </a:p>
          <a:p>
            <a:r>
              <a:rPr lang="en-GB"/>
              <a:t>Optional annotations can be added to the images</a:t>
            </a:r>
          </a:p>
          <a:p>
            <a:pPr lvl="1"/>
            <a:r>
              <a:rPr lang="en-GB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Image annotation</a:t>
            </a:r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Image annotation</a:t>
            </a:r>
            <a:endParaRPr lang="en-GB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8CDFC06A-9477-4545-A1FA-B596728FC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142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DDF39C-2CD0-4F48-A4AD-0CB1C9646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6017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DDF39C-2CD0-4F48-A4AD-0CB1C9646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2CD9C9-94AD-4572-9C3F-804BC35BC9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Content </a:t>
            </a:r>
            <a:r>
              <a:rPr lang="de-DE" err="1"/>
              <a:t>left</a:t>
            </a:r>
            <a:r>
              <a:rPr lang="de-DE"/>
              <a:t> and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big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/>
              <a:t>Pull-out subtitle in bold</a:t>
            </a:r>
          </a:p>
          <a:p>
            <a:pPr marL="0" indent="0">
              <a:buNone/>
            </a:pPr>
            <a:r>
              <a:rPr lang="en-GB"/>
              <a:t>Large pull-out paragraph in Century Gothic (18pt)</a:t>
            </a:r>
          </a:p>
          <a:p>
            <a:r>
              <a:rPr lang="en-GB"/>
              <a:t>Image area to the right measures 12.8cm x 19.3cm</a:t>
            </a:r>
          </a:p>
          <a:p>
            <a:r>
              <a:rPr lang="en-GB"/>
              <a:t>Always place images in the correct proportion</a:t>
            </a:r>
          </a:p>
          <a:p>
            <a:r>
              <a:rPr lang="en-GB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963FE11-4906-4CA6-B780-0CFB1066D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724141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/>
              <a:t>Column chart with gradient fills</a:t>
            </a:r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7105375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/>
              <a:t>Pull-out subtitle in bold</a:t>
            </a:r>
          </a:p>
          <a:p>
            <a:pPr marL="0" indent="0">
              <a:buNone/>
            </a:pPr>
            <a:r>
              <a:rPr lang="en-GB"/>
              <a:t>Small pull-out paragraph in Century Gothic (14pt)</a:t>
            </a:r>
          </a:p>
          <a:p>
            <a:r>
              <a:rPr lang="en-GB"/>
              <a:t>Gradient fill markers are always set at 0-50-100, as examples shown</a:t>
            </a:r>
          </a:p>
          <a:p>
            <a:r>
              <a:rPr lang="en-GB"/>
              <a:t>Gradients should never include more than two colours</a:t>
            </a:r>
          </a:p>
          <a:p>
            <a:r>
              <a:rPr lang="en-GB"/>
              <a:t>Chart style can be copied and pasted or saved as a chart template for future us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B185F05-BF2C-482C-BB59-F95F044FE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660836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/>
              <a:t>Two Content layout showing</a:t>
            </a:r>
            <a:br>
              <a:rPr lang="en-GB"/>
            </a:br>
            <a:r>
              <a:rPr lang="en-GB"/>
              <a:t>a bold subhead in blu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/>
              <a:t>Keep text and bullet point content brief and to the point:</a:t>
            </a:r>
          </a:p>
          <a:p>
            <a:r>
              <a:rPr lang="en-GB"/>
              <a:t>Where bullet points have levels</a:t>
            </a:r>
          </a:p>
          <a:p>
            <a:pPr lvl="1"/>
            <a:r>
              <a:rPr lang="en-GB"/>
              <a:t>Use the ‘Decrease/Increase Indent’ buttons in the ‘Paragraph’ tools</a:t>
            </a:r>
          </a:p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Populating all footers automatically</a:t>
            </a:r>
          </a:p>
          <a:p>
            <a:r>
              <a:rPr lang="en-GB"/>
              <a:t>Go to the ‘Insert’ tab</a:t>
            </a:r>
          </a:p>
          <a:p>
            <a:pPr lvl="1"/>
            <a:r>
              <a:rPr lang="en-GB"/>
              <a:t>Choose the ‘Header &amp; Footer’ button from the ‘Text’ tools</a:t>
            </a:r>
          </a:p>
          <a:p>
            <a:endParaRPr lang="en-GB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/>
              <a:t>Subheads to text content are styled in bold and coloured in ‘Accent 1’ blue in the template colour theme:</a:t>
            </a:r>
          </a:p>
          <a:p>
            <a:r>
              <a:rPr lang="en-GB"/>
              <a:t>Only this blue should be used for highlighting subheads</a:t>
            </a:r>
          </a:p>
          <a:p>
            <a:r>
              <a:rPr lang="en-GB"/>
              <a:t>Text, objects and lines are coloured cool grey, avoiding 100% black</a:t>
            </a:r>
          </a:p>
          <a:p>
            <a:r>
              <a:rPr lang="en-GB"/>
              <a:t>Use </a:t>
            </a:r>
            <a:r>
              <a:rPr lang="en-GB" b="1"/>
              <a:t>bold style</a:t>
            </a:r>
            <a:r>
              <a:rPr lang="en-GB"/>
              <a:t> where emphasis is required in the text content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BF6E3CB-11F7-4344-885B-BEB12FAC3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548857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>
                <a:solidFill>
                  <a:schemeClr val="bg1"/>
                </a:solidFill>
              </a:rPr>
              <a:t>Thank</a:t>
            </a:r>
            <a:r>
              <a:rPr lang="en-GB" sz="3400" b="1" baseline="0">
                <a:solidFill>
                  <a:schemeClr val="bg1"/>
                </a:solidFill>
              </a:rPr>
              <a:t> you.</a:t>
            </a:r>
            <a:endParaRPr lang="en-GB" sz="3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50087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229527414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9A87515-782A-4E88-9800-EDCF4CD1F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9A87515-782A-4E88-9800-EDCF4CD1F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59BFE25-6759-4885-9361-20D72524CC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100116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E3D648-14B8-4A70-88FC-21C3C8BF5A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341CCC7-6C36-42A0-880C-5EF0C838C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4336" y="7431859"/>
            <a:ext cx="4115723" cy="525918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B8127A4-C0D4-47A9-AAE4-3B24452ACB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275765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374" y="5861476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C9F060E-1CC1-4457-B878-846A45EA4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67253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CF4225-DE32-48AD-BE55-319C4822D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114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CF4225-DE32-48AD-BE55-319C4822D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Agenda/Conten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 dirty="0"/>
              <a:t>Example contents listing entry  (00 mins)</a:t>
            </a:r>
          </a:p>
          <a:p>
            <a:r>
              <a:rPr lang="en-GB" dirty="0"/>
              <a:t>Example contents listing entry  (00 mins)</a:t>
            </a:r>
          </a:p>
          <a:p>
            <a:pPr lvl="1"/>
            <a:r>
              <a:rPr lang="en-GB" dirty="0"/>
              <a:t>Supporting detail if required</a:t>
            </a:r>
          </a:p>
          <a:p>
            <a:pPr lvl="1"/>
            <a:r>
              <a:rPr lang="en-GB" dirty="0"/>
              <a:t>Supporting detail if required</a:t>
            </a:r>
          </a:p>
          <a:p>
            <a:r>
              <a:rPr lang="en-GB" dirty="0"/>
              <a:t>Example contents listing entry  (00 mins)</a:t>
            </a:r>
          </a:p>
          <a:p>
            <a:r>
              <a:rPr lang="en-GB" dirty="0"/>
              <a:t>Example contents listing entry  (00 mins)</a:t>
            </a:r>
          </a:p>
          <a:p>
            <a:r>
              <a:rPr lang="en-GB" dirty="0"/>
              <a:t>Example contents listing entry  (00 mins)</a:t>
            </a:r>
          </a:p>
          <a:p>
            <a:r>
              <a:rPr lang="en-GB" dirty="0"/>
              <a:t>Example contents listing entry  (00 mins)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 dirty="0"/>
              <a:t>Presented by: (Level 1)</a:t>
            </a:r>
          </a:p>
          <a:p>
            <a:pPr lvl="1"/>
            <a:r>
              <a:rPr lang="en-GB" dirty="0"/>
              <a:t>Name Surname (Level 2)</a:t>
            </a:r>
          </a:p>
          <a:p>
            <a:pPr lvl="1"/>
            <a:r>
              <a:rPr lang="en-GB" dirty="0"/>
              <a:t>Name Surname</a:t>
            </a:r>
          </a:p>
          <a:p>
            <a:pPr lvl="1"/>
            <a:endParaRPr lang="en-GB" dirty="0"/>
          </a:p>
          <a:p>
            <a:r>
              <a:rPr lang="en-GB" dirty="0"/>
              <a:t>Date: (Level 1)</a:t>
            </a:r>
          </a:p>
          <a:p>
            <a:pPr lvl="1"/>
            <a:r>
              <a:rPr lang="en-GB" dirty="0"/>
              <a:t>00.00.00 (Level 2)</a:t>
            </a:r>
          </a:p>
          <a:p>
            <a:endParaRPr lang="en-GB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03A6B58-F225-40F8-BBF9-476BEA62D4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85030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/>
              <a:t>Headline</a:t>
            </a:r>
            <a:br>
              <a:rPr lang="en-US"/>
            </a:br>
            <a:r>
              <a:rPr lang="en-US" err="1"/>
              <a:t>Headline</a:t>
            </a:r>
            <a:endParaRPr lang="en-US"/>
          </a:p>
          <a:p>
            <a:r>
              <a:rPr lang="en-US"/>
              <a:t>Headline</a:t>
            </a:r>
          </a:p>
          <a:p>
            <a:pPr lvl="1"/>
            <a:r>
              <a:rPr lang="en-US"/>
              <a:t>Subline</a:t>
            </a:r>
          </a:p>
          <a:p>
            <a:pPr lvl="1"/>
            <a:r>
              <a:rPr lang="en-US"/>
              <a:t>Subline</a:t>
            </a:r>
          </a:p>
          <a:p>
            <a:pPr lvl="1"/>
            <a:r>
              <a:rPr lang="en-US"/>
              <a:t>Subline</a:t>
            </a:r>
            <a:endParaRPr lang="en-GB"/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374" y="5861476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Surname</a:t>
            </a:r>
          </a:p>
          <a:p>
            <a:r>
              <a:rPr lang="en-US"/>
              <a:t>00.00.00</a:t>
            </a:r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C9F060E-1CC1-4457-B878-846A45EA4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96005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Slide e.g.: </a:t>
            </a:r>
          </a:p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86A0241-9505-478C-BDB3-90354CD0B7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5471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Slide e.g.: </a:t>
            </a:r>
          </a:p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4BC37A4-29E9-4FA2-914B-07FC6ED849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14443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8566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Slide e.g.: </a:t>
            </a:r>
          </a:p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37ED9D2-4536-4E83-B485-E4F0D33909E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95768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Slide e.g.: </a:t>
            </a:r>
          </a:p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341C55E-5897-4C0C-8797-55F8F95B9D9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9482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0B9999-360C-425C-9148-74005C74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172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0B9999-360C-425C-9148-74005C74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499D9E-7B28-44C5-AF7B-543B80116B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Content </a:t>
            </a:r>
            <a:r>
              <a:rPr lang="de-DE" dirty="0" err="1"/>
              <a:t>left</a:t>
            </a:r>
            <a:r>
              <a:rPr lang="de-DE" dirty="0"/>
              <a:t> and </a:t>
            </a:r>
            <a:r>
              <a:rPr lang="de-DE" dirty="0" err="1"/>
              <a:t>picture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 dirty="0"/>
              <a:t>Subheads to text content are styled in bold and coloured </a:t>
            </a:r>
            <a:br>
              <a:rPr lang="en-GB" dirty="0"/>
            </a:br>
            <a:r>
              <a:rPr lang="en-GB" dirty="0"/>
              <a:t>in ‘Accent 1’ blue in the template colour theme:</a:t>
            </a:r>
          </a:p>
          <a:p>
            <a:r>
              <a:rPr lang="en-GB" dirty="0"/>
              <a:t>Placeholders are included to the right of this slide layout</a:t>
            </a:r>
          </a:p>
          <a:p>
            <a:r>
              <a:rPr lang="en-GB" dirty="0"/>
              <a:t>Thumbnail image areas are 4.8cm x 8.1cm</a:t>
            </a:r>
          </a:p>
          <a:p>
            <a:r>
              <a:rPr lang="en-GB" dirty="0"/>
              <a:t>Optional annotations can be added to the images</a:t>
            </a:r>
          </a:p>
          <a:p>
            <a:pPr lvl="1"/>
            <a:r>
              <a:rPr lang="en-GB" dirty="0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8CDFC06A-9477-4545-A1FA-B596728FC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3481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DDF39C-2CD0-4F48-A4AD-0CB1C9646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56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DDF39C-2CD0-4F48-A4AD-0CB1C9646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2CD9C9-94AD-4572-9C3F-804BC35BC9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Content </a:t>
            </a:r>
            <a:r>
              <a:rPr lang="de-DE" dirty="0" err="1"/>
              <a:t>left</a:t>
            </a:r>
            <a:r>
              <a:rPr lang="de-DE" dirty="0"/>
              <a:t> and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 dirty="0"/>
              <a:t>Pull-out subtitle in bold</a:t>
            </a:r>
          </a:p>
          <a:p>
            <a:pPr marL="0" indent="0">
              <a:buNone/>
            </a:pPr>
            <a:r>
              <a:rPr lang="en-GB" dirty="0"/>
              <a:t>Large pull-out paragraph in Century Gothic (18pt)</a:t>
            </a:r>
          </a:p>
          <a:p>
            <a:r>
              <a:rPr lang="en-GB" dirty="0"/>
              <a:t>Image area to the right measures 12.8cm x 19.3cm</a:t>
            </a:r>
          </a:p>
          <a:p>
            <a:r>
              <a:rPr lang="en-GB" dirty="0"/>
              <a:t>Always place images in the correct proportion</a:t>
            </a:r>
          </a:p>
          <a:p>
            <a:r>
              <a:rPr lang="en-GB" dirty="0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963FE11-4906-4CA6-B780-0CFB1066D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643386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 dirty="0"/>
              <a:t>Column chart with gradient fills</a:t>
            </a:r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8992171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 dirty="0"/>
              <a:t>Pull-out subtitle in bold</a:t>
            </a:r>
          </a:p>
          <a:p>
            <a:pPr marL="0" indent="0">
              <a:buNone/>
            </a:pPr>
            <a:r>
              <a:rPr lang="en-GB" dirty="0"/>
              <a:t>Small pull-out paragraph in Century Gothic (14pt)</a:t>
            </a:r>
          </a:p>
          <a:p>
            <a:r>
              <a:rPr lang="en-GB" dirty="0"/>
              <a:t>Gradient fill markers are always set at 0-50-100, as examples shown</a:t>
            </a:r>
          </a:p>
          <a:p>
            <a:r>
              <a:rPr lang="en-GB" dirty="0"/>
              <a:t>Gradients should never include more than two colours</a:t>
            </a:r>
          </a:p>
          <a:p>
            <a:r>
              <a:rPr lang="en-GB" dirty="0"/>
              <a:t>Chart style can be copied and pasted or saved as a chart template for future us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B185F05-BF2C-482C-BB59-F95F044FE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435695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 dirty="0"/>
              <a:t>Two Content layout showing</a:t>
            </a:r>
            <a:br>
              <a:rPr lang="en-GB" dirty="0"/>
            </a:br>
            <a:r>
              <a:rPr lang="en-GB" dirty="0"/>
              <a:t>a bold subhead in blu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Keep text and bullet point content brief and to the point:</a:t>
            </a:r>
          </a:p>
          <a:p>
            <a:r>
              <a:rPr lang="en-GB" dirty="0"/>
              <a:t>Where bullet points have levels</a:t>
            </a:r>
          </a:p>
          <a:p>
            <a:pPr lvl="1"/>
            <a:r>
              <a:rPr lang="en-GB" dirty="0"/>
              <a:t>Use the ‘Decrease/Increase Indent’ buttons in the ‘Paragraph’ tools</a:t>
            </a:r>
          </a:p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Populating all footers automatically</a:t>
            </a:r>
          </a:p>
          <a:p>
            <a:r>
              <a:rPr lang="en-GB" dirty="0"/>
              <a:t>Go to the ‘Insert’ tab</a:t>
            </a:r>
          </a:p>
          <a:p>
            <a:pPr lvl="1"/>
            <a:r>
              <a:rPr lang="en-GB" dirty="0"/>
              <a:t>Choose the ‘Header &amp; Footer’ button from the ‘Text’ tools</a:t>
            </a:r>
          </a:p>
          <a:p>
            <a:endParaRPr lang="en-GB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 dirty="0"/>
              <a:t>Subheads to text content are styled in bold and coloured in ‘Accent 1’ blue in the template colour theme:</a:t>
            </a:r>
          </a:p>
          <a:p>
            <a:r>
              <a:rPr lang="en-GB" dirty="0"/>
              <a:t>Only this blue should be used for highlighting subheads</a:t>
            </a:r>
          </a:p>
          <a:p>
            <a:r>
              <a:rPr lang="en-GB" dirty="0"/>
              <a:t>Text, objects and lines are coloured cool grey, avoiding 100% black</a:t>
            </a:r>
          </a:p>
          <a:p>
            <a:r>
              <a:rPr lang="en-GB" dirty="0"/>
              <a:t>Use </a:t>
            </a:r>
            <a:r>
              <a:rPr lang="en-GB" b="1" dirty="0"/>
              <a:t>bold style</a:t>
            </a:r>
            <a:r>
              <a:rPr lang="en-GB" dirty="0"/>
              <a:t> where emphasis is required in the text content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BF6E3CB-11F7-4344-885B-BEB12FAC3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255405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bg1"/>
                </a:solidFill>
              </a:rPr>
              <a:t>Thank</a:t>
            </a:r>
            <a:r>
              <a:rPr lang="en-GB" sz="3400" b="1" baseline="0" dirty="0">
                <a:solidFill>
                  <a:schemeClr val="bg1"/>
                </a:solidFill>
              </a:rPr>
              <a:t> you.</a:t>
            </a:r>
            <a:endParaRPr lang="en-GB" sz="3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02275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30540415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CF4225-DE32-48AD-BE55-319C4822D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114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CF4225-DE32-48AD-BE55-319C4822D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Agenda/Conten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pPr lvl="1"/>
            <a:r>
              <a:rPr lang="en-GB"/>
              <a:t>Supporting detail if required</a:t>
            </a:r>
          </a:p>
          <a:p>
            <a:pPr lvl="1"/>
            <a:r>
              <a:rPr lang="en-GB"/>
              <a:t>Supporting detail if required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  <a:p>
            <a:r>
              <a:rPr lang="en-GB"/>
              <a:t>Example contents listing entry  (00 mins)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Presented by: (Level 1)</a:t>
            </a:r>
          </a:p>
          <a:p>
            <a:pPr lvl="1"/>
            <a:r>
              <a:rPr lang="en-GB"/>
              <a:t>Name Surname (Level 2)</a:t>
            </a:r>
          </a:p>
          <a:p>
            <a:pPr lvl="1"/>
            <a:r>
              <a:rPr lang="en-GB"/>
              <a:t>Name Surname</a:t>
            </a:r>
          </a:p>
          <a:p>
            <a:pPr lvl="1"/>
            <a:endParaRPr lang="en-GB"/>
          </a:p>
          <a:p>
            <a:r>
              <a:rPr lang="en-GB"/>
              <a:t>Date: (Level 1)</a:t>
            </a:r>
          </a:p>
          <a:p>
            <a:pPr lvl="1"/>
            <a:r>
              <a:rPr lang="en-GB"/>
              <a:t>00.00.00 (Level 2)</a:t>
            </a:r>
          </a:p>
          <a:p>
            <a:endParaRPr lang="en-GB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03A6B58-F225-40F8-BBF9-476BEA62D4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87955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/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/>
              <a:t>®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86A0241-9505-478C-BDB3-90354CD0B7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7207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/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/>
              <a:t>®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4BC37A4-29E9-4FA2-914B-07FC6ED849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485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8566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37ED9D2-4536-4E83-B485-E4F0D33909E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3484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Slide e.g.: </a:t>
            </a:r>
          </a:p>
          <a:p>
            <a:pPr lvl="0"/>
            <a:r>
              <a:rPr lang="de-DE"/>
              <a:t>FRIALOC</a:t>
            </a:r>
            <a:r>
              <a:rPr lang="de-DE" baseline="30000">
                <a:solidFill>
                  <a:schemeClr val="accent1"/>
                </a:solidFill>
              </a:rPr>
              <a:t>®</a:t>
            </a:r>
            <a:br>
              <a:rPr lang="de-DE"/>
            </a:br>
            <a:r>
              <a:rPr lang="de-DE"/>
              <a:t>mit FRIAGRIP</a:t>
            </a:r>
            <a:r>
              <a:rPr lang="de-DE" baseline="30000">
                <a:solidFill>
                  <a:schemeClr val="accent1"/>
                </a:solidFill>
              </a:rPr>
              <a:t>® </a:t>
            </a:r>
            <a:endParaRPr lang="de-DE"/>
          </a:p>
          <a:p>
            <a:pPr lvl="1"/>
            <a:r>
              <a:rPr lang="de-DE"/>
              <a:t>PE-Absperrarmatur </a:t>
            </a:r>
          </a:p>
          <a:p>
            <a:pPr lvl="1"/>
            <a:r>
              <a:rPr lang="de-DE"/>
              <a:t>für jede Rohrleit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341C55E-5897-4C0C-8797-55F8F95B9D9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9903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0B9999-360C-425C-9148-74005C74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172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0B9999-360C-425C-9148-74005C74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499D9E-7B28-44C5-AF7B-543B80116B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Content </a:t>
            </a:r>
            <a:r>
              <a:rPr lang="de-DE" err="1"/>
              <a:t>left</a:t>
            </a:r>
            <a:r>
              <a:rPr lang="de-DE"/>
              <a:t> and </a:t>
            </a:r>
            <a:r>
              <a:rPr lang="de-DE" err="1"/>
              <a:t>pictures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/>
              <a:t>Subheads to text content are styled in bold and coloured </a:t>
            </a:r>
            <a:br>
              <a:rPr lang="en-GB"/>
            </a:br>
            <a:r>
              <a:rPr lang="en-GB"/>
              <a:t>in ‘Accent 1’ blue in the template colour theme:</a:t>
            </a:r>
          </a:p>
          <a:p>
            <a:r>
              <a:rPr lang="en-GB"/>
              <a:t>Placeholders are included to the right of this slide layout</a:t>
            </a:r>
          </a:p>
          <a:p>
            <a:r>
              <a:rPr lang="en-GB"/>
              <a:t>Thumbnail image areas are 4.8cm x 8.1cm</a:t>
            </a:r>
          </a:p>
          <a:p>
            <a:r>
              <a:rPr lang="en-GB"/>
              <a:t>Optional annotations can be added to the images</a:t>
            </a:r>
          </a:p>
          <a:p>
            <a:pPr lvl="1"/>
            <a:r>
              <a:rPr lang="en-GB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Image annotation</a:t>
            </a:r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Image annotation</a:t>
            </a:r>
            <a:endParaRPr lang="en-GB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8CDFC06A-9477-4545-A1FA-B596728FC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1631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DDF39C-2CD0-4F48-A4AD-0CB1C9646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56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DDF39C-2CD0-4F48-A4AD-0CB1C9646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2CD9C9-94AD-4572-9C3F-804BC35BC9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Content </a:t>
            </a:r>
            <a:r>
              <a:rPr lang="de-DE" err="1"/>
              <a:t>left</a:t>
            </a:r>
            <a:r>
              <a:rPr lang="de-DE"/>
              <a:t> and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big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/>
              <a:t>Pull-out subtitle in bold</a:t>
            </a:r>
          </a:p>
          <a:p>
            <a:pPr marL="0" indent="0">
              <a:buNone/>
            </a:pPr>
            <a:r>
              <a:rPr lang="en-GB"/>
              <a:t>Large pull-out paragraph in Century Gothic (18pt)</a:t>
            </a:r>
          </a:p>
          <a:p>
            <a:r>
              <a:rPr lang="en-GB"/>
              <a:t>Image area to the right measures 12.8cm x 19.3cm</a:t>
            </a:r>
          </a:p>
          <a:p>
            <a:r>
              <a:rPr lang="en-GB"/>
              <a:t>Always place images in the correct proportion</a:t>
            </a:r>
          </a:p>
          <a:p>
            <a:r>
              <a:rPr lang="en-GB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963FE11-4906-4CA6-B780-0CFB1066D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0116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003CE9B-A555-490C-B9E5-AB4513083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9009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/>
              <a:t>Column chart with gradient fills</a:t>
            </a:r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8992171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/>
              <a:t>Pull-out subtitle in bold</a:t>
            </a:r>
          </a:p>
          <a:p>
            <a:pPr marL="0" indent="0">
              <a:buNone/>
            </a:pPr>
            <a:r>
              <a:rPr lang="en-GB"/>
              <a:t>Small pull-out paragraph in Century Gothic (14pt)</a:t>
            </a:r>
          </a:p>
          <a:p>
            <a:r>
              <a:rPr lang="en-GB"/>
              <a:t>Gradient fill markers are always set at 0-50-100, as examples shown</a:t>
            </a:r>
          </a:p>
          <a:p>
            <a:r>
              <a:rPr lang="en-GB"/>
              <a:t>Gradients should never include more than two colours</a:t>
            </a:r>
          </a:p>
          <a:p>
            <a:r>
              <a:rPr lang="en-GB"/>
              <a:t>Chart style can be copied and pasted or saved as a chart template for future us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B185F05-BF2C-482C-BB59-F95F044FE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4565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/>
              <a:t>Two Content layout showing</a:t>
            </a:r>
            <a:br>
              <a:rPr lang="en-GB"/>
            </a:br>
            <a:r>
              <a:rPr lang="en-GB"/>
              <a:t>a bold subhead in blu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/>
              <a:t>Keep text and bullet point content brief and to the point:</a:t>
            </a:r>
          </a:p>
          <a:p>
            <a:r>
              <a:rPr lang="en-GB"/>
              <a:t>Where bullet points have levels</a:t>
            </a:r>
          </a:p>
          <a:p>
            <a:pPr lvl="1"/>
            <a:r>
              <a:rPr lang="en-GB"/>
              <a:t>Use the ‘Decrease/Increase Indent’ buttons in the ‘Paragraph’ tools</a:t>
            </a:r>
          </a:p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Populating all footers automatically</a:t>
            </a:r>
          </a:p>
          <a:p>
            <a:r>
              <a:rPr lang="en-GB"/>
              <a:t>Go to the ‘Insert’ tab</a:t>
            </a:r>
          </a:p>
          <a:p>
            <a:pPr lvl="1"/>
            <a:r>
              <a:rPr lang="en-GB"/>
              <a:t>Choose the ‘Header &amp; Footer’ button from the ‘Text’ tools</a:t>
            </a:r>
          </a:p>
          <a:p>
            <a:endParaRPr lang="en-GB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/>
              <a:t>Subheads to text content are styled in bold and coloured in ‘Accent 1’ blue in the template colour theme:</a:t>
            </a:r>
          </a:p>
          <a:p>
            <a:r>
              <a:rPr lang="en-GB"/>
              <a:t>Only this blue should be used for highlighting subheads</a:t>
            </a:r>
          </a:p>
          <a:p>
            <a:r>
              <a:rPr lang="en-GB"/>
              <a:t>Text, objects and lines are coloured cool grey, avoiding 100% black</a:t>
            </a:r>
          </a:p>
          <a:p>
            <a:r>
              <a:rPr lang="en-GB"/>
              <a:t>Use </a:t>
            </a:r>
            <a:r>
              <a:rPr lang="en-GB" b="1"/>
              <a:t>bold style</a:t>
            </a:r>
            <a:r>
              <a:rPr lang="en-GB"/>
              <a:t> where emphasis is required in the text content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BF6E3CB-11F7-4344-885B-BEB12FAC3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1102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>
                <a:solidFill>
                  <a:schemeClr val="bg1"/>
                </a:solidFill>
              </a:rPr>
              <a:t>Thank</a:t>
            </a:r>
            <a:r>
              <a:rPr lang="en-GB" sz="3400" b="1" baseline="0">
                <a:solidFill>
                  <a:schemeClr val="bg1"/>
                </a:solidFill>
              </a:rPr>
              <a:t> you.</a:t>
            </a:r>
            <a:endParaRPr lang="en-GB" sz="3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6012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20949948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9A87515-782A-4E88-9800-EDCF4CD1F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9A87515-782A-4E88-9800-EDCF4CD1F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59BFE25-6759-4885-9361-20D72524CC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3489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9D22507C-7840-41C7-849A-E2CC5B8E38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353" y="53268"/>
            <a:ext cx="12007403" cy="6804732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37FD983-EE55-43DA-B41E-DBCCF562AABA}"/>
              </a:ext>
            </a:extLst>
          </p:cNvPr>
          <p:cNvSpPr/>
          <p:nvPr userDrawn="1"/>
        </p:nvSpPr>
        <p:spPr>
          <a:xfrm>
            <a:off x="12064752" y="53268"/>
            <a:ext cx="146334" cy="6804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0C5C0F1-9830-42B1-84E4-A4119D479E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75084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0271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29329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-Agenda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50" y="1660001"/>
            <a:ext cx="11259537" cy="4496959"/>
          </a:xfrm>
        </p:spPr>
        <p:txBody>
          <a:bodyPr/>
          <a:lstStyle>
            <a:lvl1pPr marL="341313" indent="-341313">
              <a:spcBef>
                <a:spcPts val="900"/>
              </a:spcBef>
              <a:buFont typeface="+mj-lt"/>
              <a:buAutoNum type="arabicPeriod"/>
              <a:defRPr b="1"/>
            </a:lvl1pPr>
            <a:lvl2pPr marL="365125" indent="0">
              <a:spcBef>
                <a:spcPts val="700"/>
              </a:spcBef>
              <a:buNone/>
              <a:defRPr sz="1800"/>
            </a:lvl2pPr>
            <a:lvl3pPr marL="354013" indent="11113">
              <a:spcBef>
                <a:spcPts val="700"/>
              </a:spcBef>
              <a:buNone/>
              <a:defRPr sz="1800"/>
            </a:lvl3pPr>
            <a:lvl4pPr marL="354013" indent="11113">
              <a:spcBef>
                <a:spcPts val="700"/>
              </a:spcBef>
              <a:buNone/>
              <a:defRPr sz="1800"/>
            </a:lvl4pPr>
            <a:lvl5pPr marL="354013" indent="11113">
              <a:spcBef>
                <a:spcPts val="700"/>
              </a:spcBef>
              <a:buNone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2986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Pull-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3166" y="1476000"/>
            <a:ext cx="8100000" cy="4669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8826500" y="1512000"/>
            <a:ext cx="2914650" cy="4633213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1"/>
            </a:lvl1pPr>
            <a:lvl2pPr marL="146050" indent="-146050">
              <a:lnSpc>
                <a:spcPct val="110000"/>
              </a:lnSpc>
              <a:spcBef>
                <a:spcPts val="200"/>
              </a:spcBef>
              <a:buFont typeface="Century Gothic" panose="020B0502020202020204" pitchFamily="34" charset="0"/>
              <a:buChar char="–"/>
              <a:defRPr sz="1200" b="1"/>
            </a:lvl2pPr>
            <a:lvl3pPr marL="146050" indent="-146050">
              <a:lnSpc>
                <a:spcPct val="110000"/>
              </a:lnSpc>
              <a:spcBef>
                <a:spcPts val="0"/>
              </a:spcBef>
              <a:buFont typeface="Century Gothic" panose="020B0502020202020204" pitchFamily="34" charset="0"/>
              <a:buChar char="–"/>
              <a:defRPr sz="1200" b="1"/>
            </a:lvl3pPr>
            <a:lvl4pPr marL="146050" indent="-146050">
              <a:lnSpc>
                <a:spcPct val="110000"/>
              </a:lnSpc>
              <a:spcBef>
                <a:spcPts val="0"/>
              </a:spcBef>
              <a:buFont typeface="Century Gothic" panose="020B0502020202020204" pitchFamily="34" charset="0"/>
              <a:buChar char="–"/>
              <a:defRPr sz="1200" b="1"/>
            </a:lvl4pPr>
            <a:lvl5pPr marL="146050" indent="-146050">
              <a:lnSpc>
                <a:spcPct val="110000"/>
              </a:lnSpc>
              <a:spcBef>
                <a:spcPts val="0"/>
              </a:spcBef>
              <a:buFont typeface="Century Gothic" panose="020B0502020202020204" pitchFamily="34" charset="0"/>
              <a:buChar char="–"/>
              <a:defRPr sz="1200" b="1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42059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374" y="5861476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C9F060E-1CC1-4457-B878-846A45EA4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9264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BB2291A-F9E4-4F96-9828-7485CA4C32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58089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C9F060E-1CC1-4457-B878-846A45EA4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E410E18-69E9-4A7E-930C-C6B91F2324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B8F05F6E-68E8-499A-B86B-5DFA0A69D2C7}"/>
              </a:ext>
            </a:extLst>
          </p:cNvPr>
          <p:cNvSpPr txBox="1">
            <a:spLocks/>
          </p:cNvSpPr>
          <p:nvPr userDrawn="1"/>
        </p:nvSpPr>
        <p:spPr>
          <a:xfrm>
            <a:off x="7604335" y="4216764"/>
            <a:ext cx="4115723" cy="525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Name Surname</a:t>
            </a:r>
          </a:p>
          <a:p>
            <a:pPr algn="r"/>
            <a:r>
              <a:rPr lang="en-US" dirty="0"/>
              <a:t>00.00.00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5D25527-B7EE-441C-8CA2-22389335C4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16768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C9F060E-1CC1-4457-B878-846A45EA4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E3D648-14B8-4A70-88FC-21C3C8BF5A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341CCC7-6C36-42A0-880C-5EF0C838C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4336" y="7431859"/>
            <a:ext cx="4115723" cy="525918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B8FB2658-F661-4EA5-A419-CE67095A3F8E}"/>
              </a:ext>
            </a:extLst>
          </p:cNvPr>
          <p:cNvSpPr txBox="1">
            <a:spLocks/>
          </p:cNvSpPr>
          <p:nvPr userDrawn="1"/>
        </p:nvSpPr>
        <p:spPr>
          <a:xfrm>
            <a:off x="7604335" y="4216764"/>
            <a:ext cx="4115723" cy="525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Name Surname</a:t>
            </a:r>
          </a:p>
          <a:p>
            <a:pPr algn="r"/>
            <a:r>
              <a:rPr lang="en-US" dirty="0"/>
              <a:t>00.00.00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B8127A4-C0D4-47A9-AAE4-3B24452ACB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74300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E3D648-14B8-4A70-88FC-21C3C8BF5A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341CCC7-6C36-42A0-880C-5EF0C838C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4336" y="7431859"/>
            <a:ext cx="4115723" cy="525918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B8FB2658-F661-4EA5-A419-CE67095A3F8E}"/>
              </a:ext>
            </a:extLst>
          </p:cNvPr>
          <p:cNvSpPr txBox="1">
            <a:spLocks/>
          </p:cNvSpPr>
          <p:nvPr userDrawn="1"/>
        </p:nvSpPr>
        <p:spPr>
          <a:xfrm>
            <a:off x="7604335" y="4216764"/>
            <a:ext cx="4115723" cy="525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Name Surname</a:t>
            </a:r>
          </a:p>
          <a:p>
            <a:pPr algn="r"/>
            <a:r>
              <a:rPr lang="en-US" dirty="0"/>
              <a:t>00.00.00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B8127A4-C0D4-47A9-AAE4-3B24452ACB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2636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E3D648-14B8-4A70-88FC-21C3C8BF5A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341CCC7-6C36-42A0-880C-5EF0C838C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4336" y="7431859"/>
            <a:ext cx="4115723" cy="525918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B8FB2658-F661-4EA5-A419-CE67095A3F8E}"/>
              </a:ext>
            </a:extLst>
          </p:cNvPr>
          <p:cNvSpPr txBox="1">
            <a:spLocks/>
          </p:cNvSpPr>
          <p:nvPr userDrawn="1"/>
        </p:nvSpPr>
        <p:spPr>
          <a:xfrm>
            <a:off x="7604335" y="4216764"/>
            <a:ext cx="4115723" cy="525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Name Surname</a:t>
            </a:r>
          </a:p>
          <a:p>
            <a:pPr algn="r"/>
            <a:r>
              <a:rPr lang="en-US" dirty="0"/>
              <a:t>00.00.00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B8127A4-C0D4-47A9-AAE4-3B24452ACB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951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E3D648-14B8-4A70-88FC-21C3C8BF5A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341CCC7-6C36-42A0-880C-5EF0C838C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4336" y="7431859"/>
            <a:ext cx="4115723" cy="525918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B8FB2658-F661-4EA5-A419-CE67095A3F8E}"/>
              </a:ext>
            </a:extLst>
          </p:cNvPr>
          <p:cNvSpPr txBox="1">
            <a:spLocks/>
          </p:cNvSpPr>
          <p:nvPr userDrawn="1"/>
        </p:nvSpPr>
        <p:spPr>
          <a:xfrm>
            <a:off x="7604335" y="4216764"/>
            <a:ext cx="4115723" cy="525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Name Surname</a:t>
            </a:r>
          </a:p>
          <a:p>
            <a:pPr algn="r"/>
            <a:r>
              <a:rPr lang="en-US" dirty="0"/>
              <a:t>00.00.00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B8127A4-C0D4-47A9-AAE4-3B24452ACB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13140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E3D648-14B8-4A70-88FC-21C3C8BF5A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341CCC7-6C36-42A0-880C-5EF0C838C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4336" y="7431859"/>
            <a:ext cx="4115723" cy="525918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B8FB2658-F661-4EA5-A419-CE67095A3F8E}"/>
              </a:ext>
            </a:extLst>
          </p:cNvPr>
          <p:cNvSpPr txBox="1">
            <a:spLocks/>
          </p:cNvSpPr>
          <p:nvPr userDrawn="1"/>
        </p:nvSpPr>
        <p:spPr>
          <a:xfrm>
            <a:off x="7604335" y="4216764"/>
            <a:ext cx="4115723" cy="525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Name Surname</a:t>
            </a:r>
          </a:p>
          <a:p>
            <a:pPr algn="r"/>
            <a:r>
              <a:rPr lang="en-US" dirty="0"/>
              <a:t>00.00.00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B8127A4-C0D4-47A9-AAE4-3B24452ACB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82467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E3D648-14B8-4A70-88FC-21C3C8BF5A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341CCC7-6C36-42A0-880C-5EF0C838C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4336" y="7431859"/>
            <a:ext cx="4115723" cy="525918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B8FB2658-F661-4EA5-A419-CE67095A3F8E}"/>
              </a:ext>
            </a:extLst>
          </p:cNvPr>
          <p:cNvSpPr txBox="1">
            <a:spLocks/>
          </p:cNvSpPr>
          <p:nvPr userDrawn="1"/>
        </p:nvSpPr>
        <p:spPr>
          <a:xfrm>
            <a:off x="7604335" y="4216764"/>
            <a:ext cx="4115723" cy="525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Name Surname</a:t>
            </a:r>
          </a:p>
          <a:p>
            <a:pPr algn="r"/>
            <a:r>
              <a:rPr lang="en-US" dirty="0"/>
              <a:t>00.00.00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B8127A4-C0D4-47A9-AAE4-3B24452ACB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25842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C9F060E-1CC1-4457-B878-846A45EA4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E3D648-14B8-4A70-88FC-21C3C8BF5A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341CCC7-6C36-42A0-880C-5EF0C838C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4336" y="7431859"/>
            <a:ext cx="4115723" cy="525918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B8FB2658-F661-4EA5-A419-CE67095A3F8E}"/>
              </a:ext>
            </a:extLst>
          </p:cNvPr>
          <p:cNvSpPr txBox="1">
            <a:spLocks/>
          </p:cNvSpPr>
          <p:nvPr userDrawn="1"/>
        </p:nvSpPr>
        <p:spPr>
          <a:xfrm>
            <a:off x="7604335" y="4216764"/>
            <a:ext cx="4115723" cy="525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Name Surname</a:t>
            </a:r>
          </a:p>
          <a:p>
            <a:pPr algn="r"/>
            <a:r>
              <a:rPr lang="en-US" dirty="0"/>
              <a:t>00.00.00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B8127A4-C0D4-47A9-AAE4-3B24452ACB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79892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3252"/>
            <a:ext cx="12192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C9F060E-1CC1-4457-B878-846A45EA4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E3D648-14B8-4A70-88FC-21C3C8BF5A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6512" y="1956749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341CCC7-6C36-42A0-880C-5EF0C838C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4336" y="7431859"/>
            <a:ext cx="4115723" cy="525918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Surname</a:t>
            </a:r>
          </a:p>
          <a:p>
            <a:r>
              <a:rPr lang="en-US" dirty="0"/>
              <a:t>00.00.00</a:t>
            </a:r>
            <a:endParaRPr lang="en-GB" dirty="0"/>
          </a:p>
        </p:txBody>
      </p:sp>
      <p:sp>
        <p:nvSpPr>
          <p:cNvPr id="12" name="Subtitle 1">
            <a:extLst>
              <a:ext uri="{FF2B5EF4-FFF2-40B4-BE49-F238E27FC236}">
                <a16:creationId xmlns:a16="http://schemas.microsoft.com/office/drawing/2014/main" id="{B8FB2658-F661-4EA5-A419-CE67095A3F8E}"/>
              </a:ext>
            </a:extLst>
          </p:cNvPr>
          <p:cNvSpPr txBox="1">
            <a:spLocks/>
          </p:cNvSpPr>
          <p:nvPr userDrawn="1"/>
        </p:nvSpPr>
        <p:spPr>
          <a:xfrm>
            <a:off x="7604335" y="4216764"/>
            <a:ext cx="4115723" cy="525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Name Surname</a:t>
            </a:r>
          </a:p>
          <a:p>
            <a:pPr algn="r"/>
            <a:r>
              <a:rPr lang="en-US" dirty="0"/>
              <a:t>00.00.00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B8127A4-C0D4-47A9-AAE4-3B24452ACB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2387" y="3031034"/>
            <a:ext cx="4108763" cy="597608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r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Subline</a:t>
            </a:r>
            <a:br>
              <a:rPr lang="en-US" dirty="0"/>
            </a:br>
            <a:endParaRPr lang="en-US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09279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C1C09FA-CACB-4001-9307-2C94EDD5B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2336" y="933584"/>
            <a:ext cx="4978138" cy="4990831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C7A0B-72C1-48C6-8A52-7E48F8BB8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3" t="11401" r="14795" b="14142"/>
          <a:stretch/>
        </p:blipFill>
        <p:spPr>
          <a:xfrm>
            <a:off x="10224247" y="5024718"/>
            <a:ext cx="1586753" cy="147021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508BD171-7442-45A1-AF91-8960F8F5117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9487C2B-E256-46F6-B6E7-771BD55719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4777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2C09FD1-0731-4B6D-A29B-C30DF93EF6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3141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67B40FF-6292-4AEE-90B2-E528BC039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4000" y="932400"/>
            <a:ext cx="4979433" cy="4989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accent2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ivider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C7A0B-72C1-48C6-8A52-7E48F8BB8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3" t="11401" r="14795" b="14142"/>
          <a:stretch/>
        </p:blipFill>
        <p:spPr>
          <a:xfrm>
            <a:off x="10224247" y="5024718"/>
            <a:ext cx="1586753" cy="147021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4FF2FB8-96FC-4C87-9F99-0B0496D934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315A72D-510A-4D61-BD65-35CAC658F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63606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F74391E-2EF5-4633-97AE-3147AD2A6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072" y="932400"/>
            <a:ext cx="4998700" cy="49860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accent6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ivider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C7A0B-72C1-48C6-8A52-7E48F8BB8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3" t="11401" r="14795" b="14142"/>
          <a:stretch/>
        </p:blipFill>
        <p:spPr>
          <a:xfrm>
            <a:off x="10224247" y="5024718"/>
            <a:ext cx="1586753" cy="147021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C80895E-AD1F-4493-AD00-2BEC59D06D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F91A7C8-31D6-41D5-931B-7343386BAE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29429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1A70556-AB8C-4BF8-B03F-55D11296EB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4000" y="932400"/>
            <a:ext cx="4984516" cy="4989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accent3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ivider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C7A0B-72C1-48C6-8A52-7E48F8BB8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3" t="11401" r="14795" b="14142"/>
          <a:stretch/>
        </p:blipFill>
        <p:spPr>
          <a:xfrm>
            <a:off x="10224247" y="5024718"/>
            <a:ext cx="1586753" cy="147021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DB6D7A0-F685-436C-8469-58F97880427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317C6D7-A7F6-4308-997F-3C5F05C7C5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74199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CF4225-DE32-48AD-BE55-319C4822D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9824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CF4225-DE32-48AD-BE55-319C4822D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Agenda/Conten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 dirty="0"/>
              <a:t>Example contents listing entry  (00 mins)</a:t>
            </a:r>
          </a:p>
          <a:p>
            <a:r>
              <a:rPr lang="en-GB" dirty="0"/>
              <a:t>Example contents listing entry  (00 mins)</a:t>
            </a:r>
          </a:p>
          <a:p>
            <a:pPr lvl="1"/>
            <a:r>
              <a:rPr lang="en-GB" dirty="0"/>
              <a:t>Supporting detail if required</a:t>
            </a:r>
          </a:p>
          <a:p>
            <a:pPr lvl="1"/>
            <a:r>
              <a:rPr lang="en-GB" dirty="0"/>
              <a:t>Supporting detail if required</a:t>
            </a:r>
          </a:p>
          <a:p>
            <a:r>
              <a:rPr lang="en-GB" dirty="0"/>
              <a:t>Example contents listing entry  (00 mins)</a:t>
            </a:r>
          </a:p>
          <a:p>
            <a:r>
              <a:rPr lang="en-GB" dirty="0"/>
              <a:t>Example contents listing entry  (00 mins)</a:t>
            </a:r>
          </a:p>
          <a:p>
            <a:r>
              <a:rPr lang="en-GB" dirty="0"/>
              <a:t>Example contents listing entry  (00 mins)</a:t>
            </a:r>
          </a:p>
          <a:p>
            <a:r>
              <a:rPr lang="en-GB" dirty="0"/>
              <a:t>Example contents listing entry  (00 mins)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r>
              <a:rPr lang="en-GB" dirty="0"/>
              <a:t>Presented by: (Level 1)</a:t>
            </a:r>
          </a:p>
          <a:p>
            <a:pPr lvl="1"/>
            <a:r>
              <a:rPr lang="en-GB" dirty="0"/>
              <a:t>Name Surname (Level 2)</a:t>
            </a:r>
          </a:p>
          <a:p>
            <a:pPr lvl="1"/>
            <a:r>
              <a:rPr lang="en-GB" dirty="0"/>
              <a:t>Name Surname</a:t>
            </a:r>
          </a:p>
          <a:p>
            <a:pPr lvl="1"/>
            <a:endParaRPr lang="en-GB" dirty="0"/>
          </a:p>
          <a:p>
            <a:r>
              <a:rPr lang="en-GB" dirty="0"/>
              <a:t>Date: (Level 1)</a:t>
            </a:r>
          </a:p>
          <a:p>
            <a:pPr lvl="1"/>
            <a:r>
              <a:rPr lang="en-GB" dirty="0"/>
              <a:t>00.00.00 (Level 2)</a:t>
            </a:r>
          </a:p>
          <a:p>
            <a:endParaRPr lang="en-GB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03A6B58-F225-40F8-BBF9-476BEA62D4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5324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Slide e.g.: </a:t>
            </a:r>
          </a:p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86A0241-9505-478C-BDB3-90354CD0B7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322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Slide e.g.: </a:t>
            </a:r>
          </a:p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4BC37A4-29E9-4FA2-914B-07FC6ED849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9743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8566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Slide e.g.: </a:t>
            </a:r>
          </a:p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37ED9D2-4536-4E83-B485-E4F0D33909E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0202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 sz="28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Slide e.g.: </a:t>
            </a:r>
          </a:p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341C55E-5897-4C0C-8797-55F8F95B9D9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5656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0B9999-360C-425C-9148-74005C74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5523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0B9999-360C-425C-9148-74005C74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499D9E-7B28-44C5-AF7B-543B80116B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Content </a:t>
            </a:r>
            <a:r>
              <a:rPr lang="de-DE" dirty="0" err="1"/>
              <a:t>left</a:t>
            </a:r>
            <a:r>
              <a:rPr lang="de-DE" dirty="0"/>
              <a:t> and </a:t>
            </a:r>
            <a:r>
              <a:rPr lang="de-DE" dirty="0" err="1"/>
              <a:t>picture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 dirty="0"/>
              <a:t>Subheads to text content are styled in bold and coloured </a:t>
            </a:r>
            <a:br>
              <a:rPr lang="en-GB" dirty="0"/>
            </a:br>
            <a:r>
              <a:rPr lang="en-GB" dirty="0"/>
              <a:t>in ‘Accent 1’ blue in the template colour theme:</a:t>
            </a:r>
          </a:p>
          <a:p>
            <a:r>
              <a:rPr lang="en-GB" dirty="0"/>
              <a:t>Placeholders are included to the right of this slide layout</a:t>
            </a:r>
          </a:p>
          <a:p>
            <a:r>
              <a:rPr lang="en-GB" dirty="0"/>
              <a:t>Thumbnail image areas are 4.8cm x 8.1cm</a:t>
            </a:r>
          </a:p>
          <a:p>
            <a:r>
              <a:rPr lang="en-GB" dirty="0"/>
              <a:t>Optional annotations can be added to the images</a:t>
            </a:r>
          </a:p>
          <a:p>
            <a:pPr lvl="1"/>
            <a:r>
              <a:rPr lang="en-GB" dirty="0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8CDFC06A-9477-4545-A1FA-B596728FC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4131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DDF39C-2CD0-4F48-A4AD-0CB1C9646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166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DDF39C-2CD0-4F48-A4AD-0CB1C9646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2CD9C9-94AD-4572-9C3F-804BC35BC9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Content </a:t>
            </a:r>
            <a:r>
              <a:rPr lang="de-DE" dirty="0" err="1"/>
              <a:t>left</a:t>
            </a:r>
            <a:r>
              <a:rPr lang="de-DE" dirty="0"/>
              <a:t> and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 dirty="0"/>
              <a:t>Pull-out subtitle in bold</a:t>
            </a:r>
          </a:p>
          <a:p>
            <a:pPr marL="0" indent="0">
              <a:buNone/>
            </a:pPr>
            <a:r>
              <a:rPr lang="en-GB" dirty="0"/>
              <a:t>Large pull-out paragraph in Century Gothic (18pt)</a:t>
            </a:r>
          </a:p>
          <a:p>
            <a:r>
              <a:rPr lang="en-GB" dirty="0"/>
              <a:t>Image area to the right measures 12.8cm x 19.3cm</a:t>
            </a:r>
          </a:p>
          <a:p>
            <a:r>
              <a:rPr lang="en-GB" dirty="0"/>
              <a:t>Always place images in the correct proportion</a:t>
            </a:r>
          </a:p>
          <a:p>
            <a:r>
              <a:rPr lang="en-GB" dirty="0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963FE11-4906-4CA6-B780-0CFB1066D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4124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7553AA1-77BA-4B10-A0FB-679D275C45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6366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 dirty="0"/>
              <a:t>Column chart with gradient fills</a:t>
            </a:r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909577792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 dirty="0"/>
              <a:t>Pull-out subtitle in bold</a:t>
            </a:r>
          </a:p>
          <a:p>
            <a:pPr marL="0" indent="0">
              <a:buNone/>
            </a:pPr>
            <a:r>
              <a:rPr lang="en-GB" dirty="0"/>
              <a:t>Small pull-out paragraph in Century Gothic (14pt)</a:t>
            </a:r>
          </a:p>
          <a:p>
            <a:r>
              <a:rPr lang="en-GB" dirty="0"/>
              <a:t>Gradient fill markers are always set at 0-50-100, as examples shown</a:t>
            </a:r>
          </a:p>
          <a:p>
            <a:r>
              <a:rPr lang="en-GB" dirty="0"/>
              <a:t>Gradients should never include more than two colours</a:t>
            </a:r>
          </a:p>
          <a:p>
            <a:r>
              <a:rPr lang="en-GB" dirty="0"/>
              <a:t>Chart style can be copied and pasted or saved as a chart template for future us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B185F05-BF2C-482C-BB59-F95F044FE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83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GB" dirty="0"/>
              <a:t>Two Content layout showing</a:t>
            </a:r>
            <a:br>
              <a:rPr lang="en-GB" dirty="0"/>
            </a:br>
            <a:r>
              <a:rPr lang="en-GB" dirty="0"/>
              <a:t>a bold subhead in blu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Keep text and bullet point content brief and to the point:</a:t>
            </a:r>
          </a:p>
          <a:p>
            <a:r>
              <a:rPr lang="en-GB" dirty="0"/>
              <a:t>Where bullet points have levels</a:t>
            </a:r>
          </a:p>
          <a:p>
            <a:pPr lvl="1"/>
            <a:r>
              <a:rPr lang="en-GB" dirty="0"/>
              <a:t>Use the ‘Decrease/Increase Indent’ buttons in the ‘Paragraph’ tools</a:t>
            </a:r>
          </a:p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Populating all footers automatically</a:t>
            </a:r>
          </a:p>
          <a:p>
            <a:r>
              <a:rPr lang="en-GB" dirty="0"/>
              <a:t>Go to the ‘Insert’ tab</a:t>
            </a:r>
          </a:p>
          <a:p>
            <a:pPr lvl="1"/>
            <a:r>
              <a:rPr lang="en-GB" dirty="0"/>
              <a:t>Choose the ‘Header &amp; Footer’ button from the ‘Text’ tools</a:t>
            </a:r>
          </a:p>
          <a:p>
            <a:endParaRPr lang="en-GB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 dirty="0"/>
              <a:t>Subheads to text content are styled in bold and coloured in ‘Accent 1’ blue in the template colour theme:</a:t>
            </a:r>
          </a:p>
          <a:p>
            <a:r>
              <a:rPr lang="en-GB" dirty="0"/>
              <a:t>Only this blue should be used for highlighting subheads</a:t>
            </a:r>
          </a:p>
          <a:p>
            <a:r>
              <a:rPr lang="en-GB" dirty="0"/>
              <a:t>Text, objects and lines are coloured cool grey, avoiding 100% black</a:t>
            </a:r>
          </a:p>
          <a:p>
            <a:r>
              <a:rPr lang="en-GB" dirty="0"/>
              <a:t>Use </a:t>
            </a:r>
            <a:r>
              <a:rPr lang="en-GB" b="1" dirty="0"/>
              <a:t>bold style</a:t>
            </a:r>
            <a:r>
              <a:rPr lang="en-GB" dirty="0"/>
              <a:t> where emphasis is required in the text content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BF6E3CB-11F7-4344-885B-BEB12FAC3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0054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bg1"/>
                </a:solidFill>
              </a:rPr>
              <a:t>Thank</a:t>
            </a:r>
            <a:r>
              <a:rPr lang="en-GB" sz="3400" b="1" baseline="0" dirty="0">
                <a:solidFill>
                  <a:schemeClr val="bg1"/>
                </a:solidFill>
              </a:rPr>
              <a:t> you.</a:t>
            </a:r>
            <a:endParaRPr lang="en-GB" sz="3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1517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129315008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10800000" cy="466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03871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Agenda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 marL="341313" indent="-341313">
              <a:spcBef>
                <a:spcPts val="900"/>
              </a:spcBef>
              <a:buFont typeface="+mj-lt"/>
              <a:buAutoNum type="arabicPeriod"/>
              <a:defRPr b="1"/>
            </a:lvl1pPr>
            <a:lvl2pPr marL="365125" indent="0">
              <a:spcBef>
                <a:spcPts val="700"/>
              </a:spcBef>
              <a:buNone/>
              <a:defRPr sz="1800"/>
            </a:lvl2pPr>
            <a:lvl3pPr marL="354013" indent="11113">
              <a:spcBef>
                <a:spcPts val="700"/>
              </a:spcBef>
              <a:buNone/>
              <a:defRPr sz="1800"/>
            </a:lvl3pPr>
            <a:lvl4pPr marL="354013" indent="11113">
              <a:spcBef>
                <a:spcPts val="700"/>
              </a:spcBef>
              <a:buNone/>
              <a:defRPr sz="1800"/>
            </a:lvl4pPr>
            <a:lvl5pPr marL="354013" indent="11113">
              <a:spcBef>
                <a:spcPts val="700"/>
              </a:spcBef>
              <a:buNone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57810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5469196-C49B-4FCE-8E83-8F932A7877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7193" y="4779034"/>
            <a:ext cx="2290303" cy="200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9517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DE09527-A4A8-4B47-823D-9B893CC94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40315CD-62D3-41E9-8D7F-29AD3F32A5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9093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003CE9B-A555-490C-B9E5-AB4513083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52153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BB2291A-F9E4-4F96-9828-7485CA4C32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5835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4200FBA-4EE1-489C-9E9E-741644AE5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91260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2C09FD1-0731-4B6D-A29B-C30DF93EF6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7922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7553AA1-77BA-4B10-A0FB-679D275C45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99449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4200FBA-4EE1-489C-9E9E-741644AE5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518600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14051301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17802296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175159406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357308163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3166" y="1476000"/>
            <a:ext cx="8100000" cy="4669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Tx/>
              <a:buFont typeface="Century Gothic" panose="020B0502020202020204" pitchFamily="34" charset="0"/>
              <a:buNone/>
              <a:tabLst/>
              <a:defRPr/>
            </a:lvl1pPr>
            <a:lvl2pPr>
              <a:defRPr/>
            </a:lvl2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Bold subhead in ‘Accent 1’ blue</a:t>
            </a:r>
          </a:p>
          <a:p>
            <a:pPr marL="0" indent="0">
              <a:buNone/>
            </a:pPr>
            <a:r>
              <a:rPr lang="en-GB" dirty="0"/>
              <a:t>Subheads to text content are styled in bold and coloured </a:t>
            </a:r>
            <a:br>
              <a:rPr lang="en-GB" dirty="0"/>
            </a:br>
            <a:r>
              <a:rPr lang="en-GB" dirty="0"/>
              <a:t>in ‘Accent 1’ blue in the template colour theme:</a:t>
            </a:r>
          </a:p>
          <a:p>
            <a:r>
              <a:rPr lang="en-GB" dirty="0"/>
              <a:t>Placeholders are included to the right of this slide layout</a:t>
            </a:r>
          </a:p>
          <a:p>
            <a:r>
              <a:rPr lang="en-GB" dirty="0"/>
              <a:t>Thumbnail image areas are 4.8cm x 8.1cm</a:t>
            </a:r>
          </a:p>
          <a:p>
            <a:r>
              <a:rPr lang="en-GB" dirty="0"/>
              <a:t>Optional annotations can be added to the images</a:t>
            </a:r>
          </a:p>
          <a:p>
            <a:pPr lvl="1"/>
            <a:r>
              <a:rPr lang="en-GB" dirty="0"/>
              <a:t>Annotations may be recoloured to white if the thumbnail image area has a dark backgroun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ltGray">
          <a:xfrm>
            <a:off x="8815388" y="1529283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815388" y="296474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 bwMode="ltGray">
          <a:xfrm>
            <a:off x="8815388" y="3429000"/>
            <a:ext cx="2916000" cy="1728000"/>
          </a:xfrm>
          <a:solidFill>
            <a:schemeClr val="bg2"/>
          </a:solidFill>
        </p:spPr>
        <p:txBody>
          <a:bodyPr/>
          <a:lstStyle>
            <a:lvl1pPr marL="0" indent="182563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815388" y="4854508"/>
            <a:ext cx="2925762" cy="304800"/>
          </a:xfrm>
          <a:noFill/>
        </p:spPr>
        <p:txBody>
          <a:bodyPr lIns="144000" rIns="144000" anchor="ctr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Image annotation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1398F60-94DF-48B0-A05D-CEF06D975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837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3">
          <p15:clr>
            <a:srgbClr val="547EB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999" y="1476000"/>
            <a:ext cx="4140577" cy="4669200"/>
          </a:xfr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r>
              <a:rPr lang="en-GB" b="1" dirty="0"/>
              <a:t>Pull-out subtitle in bold</a:t>
            </a:r>
          </a:p>
          <a:p>
            <a:pPr marL="0" indent="0">
              <a:buNone/>
            </a:pPr>
            <a:r>
              <a:rPr lang="en-GB" dirty="0"/>
              <a:t>Large pull-out paragraph in Century Gothic (18pt)</a:t>
            </a:r>
          </a:p>
          <a:p>
            <a:r>
              <a:rPr lang="en-GB" dirty="0"/>
              <a:t>Image area to the right measures 12.8cm x 19.3cm</a:t>
            </a:r>
          </a:p>
          <a:p>
            <a:r>
              <a:rPr lang="en-GB" dirty="0"/>
              <a:t>Always place images in the correct proportion</a:t>
            </a:r>
          </a:p>
          <a:p>
            <a:r>
              <a:rPr lang="en-GB" dirty="0"/>
              <a:t>Images should be optimised to avoid large file siz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779963" y="1540800"/>
            <a:ext cx="6948000" cy="4608000"/>
          </a:xfrm>
          <a:solidFill>
            <a:schemeClr val="bg2"/>
          </a:solidFill>
        </p:spPr>
        <p:txBody>
          <a:bodyPr/>
          <a:lstStyle>
            <a:lvl1pPr marL="182563" indent="0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7378051-26A5-403A-8682-CA6DC79F2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72287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F3679C6-FCC4-400A-B185-8100B55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C1173571-C6AC-42DB-AAA2-98AFE91482E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8992171"/>
              </p:ext>
            </p:extLst>
          </p:nvPr>
        </p:nvGraphicFramePr>
        <p:xfrm>
          <a:off x="6244737" y="1411078"/>
          <a:ext cx="4888766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01CB3-2000-40EE-B99D-99A28545F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351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/>
              <a:t>Mastertextformat bearbeiten</a:t>
            </a:r>
          </a:p>
          <a:p>
            <a:pPr marL="0" lvl="1" indent="0">
              <a:buNone/>
            </a:pPr>
            <a:r>
              <a:rPr lang="de-DE" b="1"/>
              <a:t>Zweite Ebene</a:t>
            </a:r>
          </a:p>
          <a:p>
            <a:pPr marL="0" lvl="2" indent="0">
              <a:buNone/>
            </a:pPr>
            <a:r>
              <a:rPr lang="de-DE" b="1"/>
              <a:t>Dritte Ebene</a:t>
            </a:r>
          </a:p>
          <a:p>
            <a:pPr marL="0" lvl="3" indent="0">
              <a:buNone/>
            </a:pPr>
            <a:r>
              <a:rPr lang="de-DE" b="1"/>
              <a:t>Vierte Ebene</a:t>
            </a:r>
          </a:p>
          <a:p>
            <a:pPr marL="0" lvl="4" indent="0">
              <a:buNone/>
            </a:pPr>
            <a:r>
              <a:rPr lang="de-DE" b="1"/>
              <a:t>Fünfte Ebene</a:t>
            </a:r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AB47CCE-C6DC-45C8-A6C5-8002B7573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3160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49841763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E8BB41-8157-4813-9115-B5E20C915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8902C6-7C37-4D3B-A0C2-77BD7D957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015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  <a:p>
            <a:pPr marL="0" lvl="3" indent="0">
              <a:buNone/>
            </a:pPr>
            <a:r>
              <a:rPr lang="de-DE"/>
              <a:t>Vierte Ebene</a:t>
            </a:r>
          </a:p>
          <a:p>
            <a:pPr marL="0" lvl="4" indent="0">
              <a:buNone/>
            </a:pPr>
            <a:r>
              <a:rPr lang="de-DE"/>
              <a:t>Fünfte Ebene</a:t>
            </a:r>
            <a:endParaRPr lang="en-GB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9348E75-B714-41E3-B791-829CAA93D7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6000"/>
            <a:ext cx="5400000" cy="4669200"/>
          </a:xfrm>
        </p:spPr>
        <p:txBody>
          <a:bodyPr/>
          <a:lstStyle/>
          <a:p>
            <a:pPr marL="0" lvl="0" indent="0">
              <a:buNone/>
            </a:pPr>
            <a:r>
              <a:rPr lang="de-DE" b="1">
                <a:solidFill>
                  <a:schemeClr val="accent1"/>
                </a:solidFill>
              </a:rPr>
              <a:t>Mastertextformat bearbeiten</a:t>
            </a:r>
          </a:p>
          <a:p>
            <a:pPr marL="0" lvl="1" indent="0">
              <a:buNone/>
            </a:pPr>
            <a:r>
              <a:rPr lang="de-DE" b="1">
                <a:solidFill>
                  <a:schemeClr val="accent1"/>
                </a:solidFill>
              </a:rPr>
              <a:t>Zweite Ebene</a:t>
            </a:r>
          </a:p>
          <a:p>
            <a:pPr marL="0" lvl="2" indent="0">
              <a:buNone/>
            </a:pPr>
            <a:r>
              <a:rPr lang="de-DE" b="1">
                <a:solidFill>
                  <a:schemeClr val="accent1"/>
                </a:solidFill>
              </a:rPr>
              <a:t>Dritte Ebene</a:t>
            </a:r>
          </a:p>
          <a:p>
            <a:pPr marL="0" lvl="3" indent="0">
              <a:buNone/>
            </a:pPr>
            <a:r>
              <a:rPr lang="de-DE" b="1">
                <a:solidFill>
                  <a:schemeClr val="accent1"/>
                </a:solidFill>
              </a:rPr>
              <a:t>Vierte Ebene</a:t>
            </a:r>
          </a:p>
          <a:p>
            <a:pPr marL="0" lvl="4" indent="0">
              <a:buNone/>
            </a:pPr>
            <a:r>
              <a:rPr lang="de-DE" b="1">
                <a:solidFill>
                  <a:schemeClr val="accent1"/>
                </a:solidFill>
              </a:rPr>
              <a:t>Fünfte Ebene</a:t>
            </a:r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60F4152-1AF9-4A0C-9AB4-5CE352CFA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44207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D8B11A3-1332-46C3-A632-8C91BEEE9BBD}"/>
              </a:ext>
            </a:extLst>
          </p:cNvPr>
          <p:cNvGrpSpPr/>
          <p:nvPr userDrawn="1"/>
        </p:nvGrpSpPr>
        <p:grpSpPr>
          <a:xfrm>
            <a:off x="696452" y="4790119"/>
            <a:ext cx="10910870" cy="1470211"/>
            <a:chOff x="696452" y="4790119"/>
            <a:chExt cx="10910870" cy="1470211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FDC06DFC-5FDD-41B9-8974-A962B6021B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452" y="5411653"/>
              <a:ext cx="1505269" cy="719911"/>
            </a:xfrm>
            <a:prstGeom prst="rect">
              <a:avLst/>
            </a:prstGeom>
          </p:spPr>
        </p:pic>
        <p:pic>
          <p:nvPicPr>
            <p:cNvPr id="13" name="Picture 4">
              <a:extLst>
                <a:ext uri="{FF2B5EF4-FFF2-40B4-BE49-F238E27FC236}">
                  <a16:creationId xmlns:a16="http://schemas.microsoft.com/office/drawing/2014/main" id="{2A371C7E-0FD7-4C84-9951-0AEA3A21A4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683" t="11401" r="14795" b="14142"/>
            <a:stretch/>
          </p:blipFill>
          <p:spPr>
            <a:xfrm>
              <a:off x="10020569" y="4790119"/>
              <a:ext cx="1586753" cy="1470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690546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463550" y="180000"/>
            <a:ext cx="11277600" cy="6056898"/>
          </a:xfrm>
          <a:solidFill>
            <a:schemeClr val="bg2"/>
          </a:solidFill>
        </p:spPr>
        <p:txBody>
          <a:bodyPr/>
          <a:lstStyle>
            <a:lvl1pPr marL="182563" indent="0" algn="r">
              <a:lnSpc>
                <a:spcPct val="200000"/>
              </a:lnSpc>
              <a:spcBef>
                <a:spcPts val="0"/>
              </a:spcBef>
              <a:buNone/>
              <a:defRPr sz="1000" b="1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9971A-B85F-4B15-BD6D-066CD5A46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3CAC9F-CBEB-40DB-8863-FA4D953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2E06ED-F126-416F-AF00-616CFFE13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C2203FC-4028-458A-87C8-D89C9DD7E387}"/>
              </a:ext>
            </a:extLst>
          </p:cNvPr>
          <p:cNvGrpSpPr/>
          <p:nvPr userDrawn="1"/>
        </p:nvGrpSpPr>
        <p:grpSpPr>
          <a:xfrm>
            <a:off x="687826" y="4536952"/>
            <a:ext cx="11272399" cy="2009955"/>
            <a:chOff x="687826" y="4536952"/>
            <a:chExt cx="11272399" cy="2009955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1392CF82-DDA4-43F4-B41E-2179DC9FE1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9922" y="4536952"/>
              <a:ext cx="2290303" cy="2009955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3C318D26-E017-4C6A-8583-E31BE51FB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826" y="5413775"/>
              <a:ext cx="1446441" cy="7314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17342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bg1"/>
                </a:solidFill>
              </a:rPr>
              <a:t>Thank</a:t>
            </a:r>
            <a:r>
              <a:rPr lang="en-GB" sz="3400" b="1" baseline="0" dirty="0">
                <a:solidFill>
                  <a:schemeClr val="bg1"/>
                </a:solidFill>
              </a:rPr>
              <a:t> you.</a:t>
            </a:r>
            <a:endParaRPr lang="en-GB" sz="3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6422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63550" y="3096768"/>
            <a:ext cx="11277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400" b="1" dirty="0">
                <a:solidFill>
                  <a:schemeClr val="accent1"/>
                </a:solidFill>
              </a:rPr>
              <a:t>Thank</a:t>
            </a:r>
            <a:r>
              <a:rPr lang="en-GB" sz="3400" b="1" baseline="0" dirty="0">
                <a:solidFill>
                  <a:schemeClr val="accent1"/>
                </a:solidFill>
              </a:rPr>
              <a:t> you.</a:t>
            </a:r>
            <a:endParaRPr lang="en-GB" sz="3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7720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180000" y="180000"/>
            <a:ext cx="11833200" cy="649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11E701-BF10-4AB0-994B-18CA2A210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464" y="1891943"/>
            <a:ext cx="2938272" cy="2578608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bg1"/>
                </a:solidFill>
              </a:rPr>
              <a:t>aliaxis.de</a:t>
            </a:r>
          </a:p>
        </p:txBody>
      </p:sp>
    </p:spTree>
    <p:extLst>
      <p:ext uri="{BB962C8B-B14F-4D97-AF65-F5344CB8AC3E}">
        <p14:creationId xmlns:p14="http://schemas.microsoft.com/office/powerpoint/2010/main" val="318092606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iaxis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2">
            <a:extLst>
              <a:ext uri="{FF2B5EF4-FFF2-40B4-BE49-F238E27FC236}">
                <a16:creationId xmlns:a16="http://schemas.microsoft.com/office/drawing/2014/main" id="{64F1B68B-97CC-4604-A819-DACB09083912}"/>
              </a:ext>
            </a:extLst>
          </p:cNvPr>
          <p:cNvSpPr txBox="1"/>
          <p:nvPr userDrawn="1"/>
        </p:nvSpPr>
        <p:spPr>
          <a:xfrm>
            <a:off x="463550" y="6182494"/>
            <a:ext cx="1127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aliaxis.d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A9D2B4-1CBE-4EF8-9CDC-9ADFAD5C54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70" y="1801935"/>
            <a:ext cx="3163060" cy="2775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4880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1476000"/>
            <a:ext cx="10800000" cy="466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530150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id="{D3D9EF5C-7A22-4BE2-8E9C-179ABA4008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D9220B-AE7A-408F-A964-A875305A1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1B2CEE77-5CDA-4649-A430-9E008D36B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5469196-C49B-4FCE-8E83-8F932A7877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7193" y="4779034"/>
            <a:ext cx="2290303" cy="200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2342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DE09527-A4A8-4B47-823D-9B893CC94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40315CD-62D3-41E9-8D7F-29AD3F32A5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196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385405943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003CE9B-A555-490C-B9E5-AB4513083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72461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BB2291A-F9E4-4F96-9828-7485CA4C32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81709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2C09FD1-0731-4B6D-A29B-C30DF93EF6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4991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7553AA1-77BA-4B10-A0FB-679D275C45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ubtitle 1">
            <a:extLst>
              <a:ext uri="{FF2B5EF4-FFF2-40B4-BE49-F238E27FC236}">
                <a16:creationId xmlns:a16="http://schemas.microsoft.com/office/drawing/2014/main" id="{C5908644-E6F2-4C21-8CD6-EC376E975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86ADE30-487B-45B7-A138-F7451EB562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r>
              <a:rPr lang="en-US" dirty="0"/>
              <a:t>Headline</a:t>
            </a:r>
            <a:br>
              <a:rPr lang="en-US" dirty="0"/>
            </a:br>
            <a:r>
              <a:rPr lang="en-US" dirty="0" err="1"/>
              <a:t>Headline</a:t>
            </a:r>
            <a:endParaRPr lang="en-US" dirty="0"/>
          </a:p>
          <a:p>
            <a:r>
              <a:rPr lang="en-US" dirty="0"/>
              <a:t>Head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</a:p>
          <a:p>
            <a:pPr lvl="1"/>
            <a:r>
              <a:rPr lang="en-US" dirty="0"/>
              <a:t>Sub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5C7A6-C572-4EFA-B5BA-FBC154A32C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650296"/>
            <a:ext cx="1446441" cy="73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0810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C1C09FA-CACB-4001-9307-2C94EDD5B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2336" y="933584"/>
            <a:ext cx="4978138" cy="4990831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000" y="4697689"/>
            <a:ext cx="4115723" cy="525918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17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86366"/>
            <a:ext cx="4108763" cy="4087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2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itle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C7A0B-72C1-48C6-8A52-7E48F8BB8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3" t="11401" r="14795" b="14142"/>
          <a:stretch/>
        </p:blipFill>
        <p:spPr>
          <a:xfrm>
            <a:off x="10224247" y="5024718"/>
            <a:ext cx="1586753" cy="147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6240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B6FF0898-B5CD-4517-9670-E4F16F379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74ACE18-C368-4793-8804-18DA3F0C7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000" y="1475999"/>
            <a:ext cx="6953087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4200FBA-4EE1-489C-9E9E-741644AE5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3FBBBD-7B83-43ED-AEAC-E7B2F0F36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479" y="6468930"/>
            <a:ext cx="807720" cy="270000"/>
          </a:xfrm>
        </p:spPr>
        <p:txBody>
          <a:bodyPr/>
          <a:lstStyle/>
          <a:p>
            <a:fld id="{B134DF7A-BEA9-4831-B46F-2B4DABD39A7D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7F9FAB2-D923-499D-A521-28CBFC0721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9" y="1475999"/>
            <a:ext cx="3600000" cy="4669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6B5DB3FE-B740-420A-9178-069D1299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075" y="6468930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4560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407839493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rgbClr val="32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ACA7FA5-B16F-41C5-B318-23892A5110F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321925" y="5192713"/>
            <a:ext cx="13890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AB665940-2312-490E-9C49-9B8AF6BE4210}"/>
              </a:ext>
            </a:extLst>
          </p:cNvPr>
          <p:cNvSpPr>
            <a:spLocks/>
          </p:cNvSpPr>
          <p:nvPr userDrawn="1"/>
        </p:nvSpPr>
        <p:spPr bwMode="auto">
          <a:xfrm>
            <a:off x="11141075" y="6124575"/>
            <a:ext cx="260350" cy="250825"/>
          </a:xfrm>
          <a:custGeom>
            <a:avLst/>
            <a:gdLst>
              <a:gd name="T0" fmla="*/ 516 w 728"/>
              <a:gd name="T1" fmla="*/ 0 h 706"/>
              <a:gd name="T2" fmla="*/ 375 w 728"/>
              <a:gd name="T3" fmla="*/ 208 h 706"/>
              <a:gd name="T4" fmla="*/ 227 w 728"/>
              <a:gd name="T5" fmla="*/ 0 h 706"/>
              <a:gd name="T6" fmla="*/ 13 w 728"/>
              <a:gd name="T7" fmla="*/ 0 h 706"/>
              <a:gd name="T8" fmla="*/ 252 w 728"/>
              <a:gd name="T9" fmla="*/ 338 h 706"/>
              <a:gd name="T10" fmla="*/ 0 w 728"/>
              <a:gd name="T11" fmla="*/ 706 h 706"/>
              <a:gd name="T12" fmla="*/ 200 w 728"/>
              <a:gd name="T13" fmla="*/ 706 h 706"/>
              <a:gd name="T14" fmla="*/ 354 w 728"/>
              <a:gd name="T15" fmla="*/ 480 h 706"/>
              <a:gd name="T16" fmla="*/ 514 w 728"/>
              <a:gd name="T17" fmla="*/ 706 h 706"/>
              <a:gd name="T18" fmla="*/ 728 w 728"/>
              <a:gd name="T19" fmla="*/ 706 h 706"/>
              <a:gd name="T20" fmla="*/ 475 w 728"/>
              <a:gd name="T21" fmla="*/ 349 h 706"/>
              <a:gd name="T22" fmla="*/ 715 w 728"/>
              <a:gd name="T23" fmla="*/ 0 h 706"/>
              <a:gd name="T24" fmla="*/ 516 w 728"/>
              <a:gd name="T25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8" h="706">
                <a:moveTo>
                  <a:pt x="516" y="0"/>
                </a:moveTo>
                <a:lnTo>
                  <a:pt x="375" y="208"/>
                </a:lnTo>
                <a:lnTo>
                  <a:pt x="227" y="0"/>
                </a:lnTo>
                <a:lnTo>
                  <a:pt x="13" y="0"/>
                </a:lnTo>
                <a:lnTo>
                  <a:pt x="252" y="338"/>
                </a:lnTo>
                <a:lnTo>
                  <a:pt x="0" y="706"/>
                </a:lnTo>
                <a:lnTo>
                  <a:pt x="200" y="706"/>
                </a:lnTo>
                <a:lnTo>
                  <a:pt x="354" y="480"/>
                </a:lnTo>
                <a:lnTo>
                  <a:pt x="514" y="706"/>
                </a:lnTo>
                <a:lnTo>
                  <a:pt x="728" y="706"/>
                </a:lnTo>
                <a:lnTo>
                  <a:pt x="475" y="349"/>
                </a:lnTo>
                <a:lnTo>
                  <a:pt x="71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1D360D2B-00D9-4A23-A812-F94083E0F79F}"/>
              </a:ext>
            </a:extLst>
          </p:cNvPr>
          <p:cNvSpPr>
            <a:spLocks/>
          </p:cNvSpPr>
          <p:nvPr userDrawn="1"/>
        </p:nvSpPr>
        <p:spPr bwMode="auto">
          <a:xfrm>
            <a:off x="11522075" y="6118225"/>
            <a:ext cx="188913" cy="263525"/>
          </a:xfrm>
          <a:custGeom>
            <a:avLst/>
            <a:gdLst>
              <a:gd name="T0" fmla="*/ 140 w 532"/>
              <a:gd name="T1" fmla="*/ 506 h 740"/>
              <a:gd name="T2" fmla="*/ 274 w 532"/>
              <a:gd name="T3" fmla="*/ 595 h 740"/>
              <a:gd name="T4" fmla="*/ 357 w 532"/>
              <a:gd name="T5" fmla="*/ 535 h 740"/>
              <a:gd name="T6" fmla="*/ 232 w 532"/>
              <a:gd name="T7" fmla="*/ 434 h 740"/>
              <a:gd name="T8" fmla="*/ 26 w 532"/>
              <a:gd name="T9" fmla="*/ 208 h 740"/>
              <a:gd name="T10" fmla="*/ 267 w 532"/>
              <a:gd name="T11" fmla="*/ 0 h 740"/>
              <a:gd name="T12" fmla="*/ 525 w 532"/>
              <a:gd name="T13" fmla="*/ 169 h 740"/>
              <a:gd name="T14" fmla="*/ 387 w 532"/>
              <a:gd name="T15" fmla="*/ 228 h 740"/>
              <a:gd name="T16" fmla="*/ 272 w 532"/>
              <a:gd name="T17" fmla="*/ 143 h 740"/>
              <a:gd name="T18" fmla="*/ 199 w 532"/>
              <a:gd name="T19" fmla="*/ 198 h 740"/>
              <a:gd name="T20" fmla="*/ 319 w 532"/>
              <a:gd name="T21" fmla="*/ 288 h 740"/>
              <a:gd name="T22" fmla="*/ 532 w 532"/>
              <a:gd name="T23" fmla="*/ 523 h 740"/>
              <a:gd name="T24" fmla="*/ 272 w 532"/>
              <a:gd name="T25" fmla="*/ 740 h 740"/>
              <a:gd name="T26" fmla="*/ 0 w 532"/>
              <a:gd name="T27" fmla="*/ 567 h 740"/>
              <a:gd name="T28" fmla="*/ 140 w 532"/>
              <a:gd name="T29" fmla="*/ 506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740">
                <a:moveTo>
                  <a:pt x="140" y="506"/>
                </a:moveTo>
                <a:cubicBezTo>
                  <a:pt x="164" y="562"/>
                  <a:pt x="203" y="596"/>
                  <a:pt x="274" y="595"/>
                </a:cubicBezTo>
                <a:cubicBezTo>
                  <a:pt x="323" y="595"/>
                  <a:pt x="357" y="574"/>
                  <a:pt x="357" y="535"/>
                </a:cubicBezTo>
                <a:cubicBezTo>
                  <a:pt x="357" y="490"/>
                  <a:pt x="331" y="475"/>
                  <a:pt x="232" y="434"/>
                </a:cubicBezTo>
                <a:cubicBezTo>
                  <a:pt x="108" y="387"/>
                  <a:pt x="26" y="318"/>
                  <a:pt x="26" y="208"/>
                </a:cubicBezTo>
                <a:cubicBezTo>
                  <a:pt x="26" y="94"/>
                  <a:pt x="112" y="0"/>
                  <a:pt x="267" y="0"/>
                </a:cubicBezTo>
                <a:cubicBezTo>
                  <a:pt x="420" y="0"/>
                  <a:pt x="505" y="66"/>
                  <a:pt x="525" y="169"/>
                </a:cubicBezTo>
                <a:lnTo>
                  <a:pt x="387" y="228"/>
                </a:lnTo>
                <a:cubicBezTo>
                  <a:pt x="371" y="173"/>
                  <a:pt x="330" y="143"/>
                  <a:pt x="272" y="143"/>
                </a:cubicBezTo>
                <a:cubicBezTo>
                  <a:pt x="224" y="143"/>
                  <a:pt x="199" y="165"/>
                  <a:pt x="199" y="198"/>
                </a:cubicBezTo>
                <a:cubicBezTo>
                  <a:pt x="199" y="237"/>
                  <a:pt x="234" y="251"/>
                  <a:pt x="319" y="288"/>
                </a:cubicBezTo>
                <a:cubicBezTo>
                  <a:pt x="445" y="340"/>
                  <a:pt x="532" y="403"/>
                  <a:pt x="532" y="523"/>
                </a:cubicBezTo>
                <a:cubicBezTo>
                  <a:pt x="532" y="625"/>
                  <a:pt x="450" y="740"/>
                  <a:pt x="272" y="740"/>
                </a:cubicBezTo>
                <a:cubicBezTo>
                  <a:pt x="140" y="740"/>
                  <a:pt x="30" y="676"/>
                  <a:pt x="0" y="567"/>
                </a:cubicBezTo>
                <a:lnTo>
                  <a:pt x="140" y="5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0C30F9A9-62E4-4BEA-B5F3-1BA3C467C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124575"/>
            <a:ext cx="66675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D3FA90FA-10AB-4A22-82B6-102AA31552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50550" y="6026150"/>
            <a:ext cx="66675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2CD720F-A8F8-4295-8306-F7D8136E2B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124575"/>
            <a:ext cx="65088" cy="250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C9CF5991-84F3-4215-9D67-1B850E41F4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26825" y="6026150"/>
            <a:ext cx="65088" cy="666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33F3E0-AAAE-483E-AC65-1C5628CA05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7838" y="6026150"/>
            <a:ext cx="66675" cy="3492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DB17C3E-9D90-4E95-85E5-7DA9437FC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21925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7 w 763"/>
              <a:gd name="T7" fmla="*/ 370 h 740"/>
              <a:gd name="T8" fmla="*/ 375 w 763"/>
              <a:gd name="T9" fmla="*/ 577 h 740"/>
              <a:gd name="T10" fmla="*/ 577 w 763"/>
              <a:gd name="T11" fmla="*/ 17 h 740"/>
              <a:gd name="T12" fmla="*/ 577 w 763"/>
              <a:gd name="T13" fmla="*/ 17 h 740"/>
              <a:gd name="T14" fmla="*/ 577 w 763"/>
              <a:gd name="T15" fmla="*/ 90 h 740"/>
              <a:gd name="T16" fmla="*/ 357 w 763"/>
              <a:gd name="T17" fmla="*/ 0 h 740"/>
              <a:gd name="T18" fmla="*/ 1 w 763"/>
              <a:gd name="T19" fmla="*/ 351 h 740"/>
              <a:gd name="T20" fmla="*/ 0 w 763"/>
              <a:gd name="T21" fmla="*/ 370 h 740"/>
              <a:gd name="T22" fmla="*/ 1 w 763"/>
              <a:gd name="T23" fmla="*/ 389 h 740"/>
              <a:gd name="T24" fmla="*/ 357 w 763"/>
              <a:gd name="T25" fmla="*/ 740 h 740"/>
              <a:gd name="T26" fmla="*/ 577 w 763"/>
              <a:gd name="T27" fmla="*/ 649 h 740"/>
              <a:gd name="T28" fmla="*/ 577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7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4" y="577"/>
                  <a:pt x="173" y="484"/>
                  <a:pt x="173" y="370"/>
                </a:cubicBezTo>
                <a:cubicBezTo>
                  <a:pt x="173" y="255"/>
                  <a:pt x="264" y="163"/>
                  <a:pt x="375" y="163"/>
                </a:cubicBezTo>
                <a:cubicBezTo>
                  <a:pt x="486" y="163"/>
                  <a:pt x="577" y="255"/>
                  <a:pt x="577" y="370"/>
                </a:cubicBezTo>
                <a:cubicBezTo>
                  <a:pt x="577" y="484"/>
                  <a:pt x="486" y="577"/>
                  <a:pt x="375" y="577"/>
                </a:cubicBezTo>
                <a:close/>
                <a:moveTo>
                  <a:pt x="577" y="17"/>
                </a:moveTo>
                <a:lnTo>
                  <a:pt x="577" y="17"/>
                </a:lnTo>
                <a:lnTo>
                  <a:pt x="577" y="90"/>
                </a:lnTo>
                <a:cubicBezTo>
                  <a:pt x="547" y="48"/>
                  <a:pt x="459" y="0"/>
                  <a:pt x="357" y="0"/>
                </a:cubicBezTo>
                <a:cubicBezTo>
                  <a:pt x="183" y="0"/>
                  <a:pt x="11" y="150"/>
                  <a:pt x="1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1" y="389"/>
                </a:cubicBezTo>
                <a:cubicBezTo>
                  <a:pt x="11" y="590"/>
                  <a:pt x="183" y="740"/>
                  <a:pt x="357" y="740"/>
                </a:cubicBezTo>
                <a:cubicBezTo>
                  <a:pt x="459" y="740"/>
                  <a:pt x="547" y="691"/>
                  <a:pt x="577" y="649"/>
                </a:cubicBezTo>
                <a:lnTo>
                  <a:pt x="577" y="723"/>
                </a:lnTo>
                <a:lnTo>
                  <a:pt x="763" y="723"/>
                </a:lnTo>
                <a:lnTo>
                  <a:pt x="763" y="17"/>
                </a:lnTo>
                <a:lnTo>
                  <a:pt x="577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E2D129D-2F10-4BCA-A9FA-E0B13D52C1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6118225"/>
            <a:ext cx="271463" cy="263525"/>
          </a:xfrm>
          <a:custGeom>
            <a:avLst/>
            <a:gdLst>
              <a:gd name="T0" fmla="*/ 375 w 763"/>
              <a:gd name="T1" fmla="*/ 577 h 740"/>
              <a:gd name="T2" fmla="*/ 173 w 763"/>
              <a:gd name="T3" fmla="*/ 370 h 740"/>
              <a:gd name="T4" fmla="*/ 375 w 763"/>
              <a:gd name="T5" fmla="*/ 163 h 740"/>
              <a:gd name="T6" fmla="*/ 576 w 763"/>
              <a:gd name="T7" fmla="*/ 370 h 740"/>
              <a:gd name="T8" fmla="*/ 375 w 763"/>
              <a:gd name="T9" fmla="*/ 577 h 740"/>
              <a:gd name="T10" fmla="*/ 576 w 763"/>
              <a:gd name="T11" fmla="*/ 17 h 740"/>
              <a:gd name="T12" fmla="*/ 576 w 763"/>
              <a:gd name="T13" fmla="*/ 17 h 740"/>
              <a:gd name="T14" fmla="*/ 576 w 763"/>
              <a:gd name="T15" fmla="*/ 90 h 740"/>
              <a:gd name="T16" fmla="*/ 356 w 763"/>
              <a:gd name="T17" fmla="*/ 0 h 740"/>
              <a:gd name="T18" fmla="*/ 0 w 763"/>
              <a:gd name="T19" fmla="*/ 351 h 740"/>
              <a:gd name="T20" fmla="*/ 0 w 763"/>
              <a:gd name="T21" fmla="*/ 370 h 740"/>
              <a:gd name="T22" fmla="*/ 0 w 763"/>
              <a:gd name="T23" fmla="*/ 389 h 740"/>
              <a:gd name="T24" fmla="*/ 356 w 763"/>
              <a:gd name="T25" fmla="*/ 740 h 740"/>
              <a:gd name="T26" fmla="*/ 576 w 763"/>
              <a:gd name="T27" fmla="*/ 649 h 740"/>
              <a:gd name="T28" fmla="*/ 576 w 763"/>
              <a:gd name="T29" fmla="*/ 723 h 740"/>
              <a:gd name="T30" fmla="*/ 763 w 763"/>
              <a:gd name="T31" fmla="*/ 723 h 740"/>
              <a:gd name="T32" fmla="*/ 763 w 763"/>
              <a:gd name="T33" fmla="*/ 17 h 740"/>
              <a:gd name="T34" fmla="*/ 576 w 763"/>
              <a:gd name="T35" fmla="*/ 17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63" h="740">
                <a:moveTo>
                  <a:pt x="375" y="577"/>
                </a:moveTo>
                <a:cubicBezTo>
                  <a:pt x="263" y="577"/>
                  <a:pt x="173" y="484"/>
                  <a:pt x="173" y="370"/>
                </a:cubicBezTo>
                <a:cubicBezTo>
                  <a:pt x="173" y="255"/>
                  <a:pt x="263" y="163"/>
                  <a:pt x="375" y="163"/>
                </a:cubicBezTo>
                <a:cubicBezTo>
                  <a:pt x="486" y="163"/>
                  <a:pt x="576" y="255"/>
                  <a:pt x="576" y="370"/>
                </a:cubicBezTo>
                <a:cubicBezTo>
                  <a:pt x="576" y="484"/>
                  <a:pt x="486" y="577"/>
                  <a:pt x="375" y="577"/>
                </a:cubicBezTo>
                <a:close/>
                <a:moveTo>
                  <a:pt x="576" y="17"/>
                </a:moveTo>
                <a:lnTo>
                  <a:pt x="576" y="17"/>
                </a:lnTo>
                <a:lnTo>
                  <a:pt x="576" y="90"/>
                </a:lnTo>
                <a:cubicBezTo>
                  <a:pt x="547" y="48"/>
                  <a:pt x="459" y="0"/>
                  <a:pt x="356" y="0"/>
                </a:cubicBezTo>
                <a:cubicBezTo>
                  <a:pt x="183" y="0"/>
                  <a:pt x="10" y="150"/>
                  <a:pt x="0" y="351"/>
                </a:cubicBezTo>
                <a:cubicBezTo>
                  <a:pt x="0" y="357"/>
                  <a:pt x="0" y="363"/>
                  <a:pt x="0" y="370"/>
                </a:cubicBezTo>
                <a:cubicBezTo>
                  <a:pt x="0" y="376"/>
                  <a:pt x="0" y="383"/>
                  <a:pt x="0" y="389"/>
                </a:cubicBezTo>
                <a:cubicBezTo>
                  <a:pt x="10" y="590"/>
                  <a:pt x="183" y="740"/>
                  <a:pt x="356" y="740"/>
                </a:cubicBezTo>
                <a:cubicBezTo>
                  <a:pt x="459" y="740"/>
                  <a:pt x="547" y="691"/>
                  <a:pt x="576" y="649"/>
                </a:cubicBezTo>
                <a:lnTo>
                  <a:pt x="576" y="723"/>
                </a:lnTo>
                <a:lnTo>
                  <a:pt x="763" y="723"/>
                </a:lnTo>
                <a:lnTo>
                  <a:pt x="763" y="17"/>
                </a:lnTo>
                <a:lnTo>
                  <a:pt x="576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C68AEE63-0936-4A76-A099-9D63B7921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45800" y="5192713"/>
            <a:ext cx="341313" cy="204787"/>
          </a:xfrm>
          <a:custGeom>
            <a:avLst/>
            <a:gdLst>
              <a:gd name="T0" fmla="*/ 478 w 956"/>
              <a:gd name="T1" fmla="*/ 0 h 574"/>
              <a:gd name="T2" fmla="*/ 475 w 956"/>
              <a:gd name="T3" fmla="*/ 0 h 574"/>
              <a:gd name="T4" fmla="*/ 481 w 956"/>
              <a:gd name="T5" fmla="*/ 0 h 574"/>
              <a:gd name="T6" fmla="*/ 478 w 956"/>
              <a:gd name="T7" fmla="*/ 0 h 574"/>
              <a:gd name="T8" fmla="*/ 956 w 956"/>
              <a:gd name="T9" fmla="*/ 574 h 574"/>
              <a:gd name="T10" fmla="*/ 956 w 956"/>
              <a:gd name="T11" fmla="*/ 574 h 574"/>
              <a:gd name="T12" fmla="*/ 0 w 956"/>
              <a:gd name="T13" fmla="*/ 574 h 574"/>
              <a:gd name="T14" fmla="*/ 956 w 956"/>
              <a:gd name="T15" fmla="*/ 574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6" h="574">
                <a:moveTo>
                  <a:pt x="478" y="0"/>
                </a:moveTo>
                <a:cubicBezTo>
                  <a:pt x="477" y="0"/>
                  <a:pt x="476" y="0"/>
                  <a:pt x="475" y="0"/>
                </a:cubicBezTo>
                <a:lnTo>
                  <a:pt x="481" y="0"/>
                </a:lnTo>
                <a:cubicBezTo>
                  <a:pt x="480" y="0"/>
                  <a:pt x="479" y="0"/>
                  <a:pt x="478" y="0"/>
                </a:cubicBezTo>
                <a:close/>
                <a:moveTo>
                  <a:pt x="956" y="574"/>
                </a:moveTo>
                <a:lnTo>
                  <a:pt x="956" y="574"/>
                </a:lnTo>
                <a:lnTo>
                  <a:pt x="0" y="574"/>
                </a:lnTo>
                <a:lnTo>
                  <a:pt x="956" y="5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03A033-9D82-C34C-8878-DC9B561AA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6"/>
          <a:stretch/>
        </p:blipFill>
        <p:spPr>
          <a:xfrm>
            <a:off x="10313988" y="5192713"/>
            <a:ext cx="1397000" cy="815767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D4BBEDC-7B3E-1046-A839-26DCA4BAB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bg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/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/>
              <a:t>®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96244460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8F2A6AE5-4927-C042-8292-ADC737BA85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7084" y="4517041"/>
            <a:ext cx="1864800" cy="1864800"/>
          </a:xfrm>
          <a:custGeom>
            <a:avLst/>
            <a:gdLst>
              <a:gd name="connsiteX0" fmla="*/ 932400 w 1864800"/>
              <a:gd name="connsiteY0" fmla="*/ 0 h 1864800"/>
              <a:gd name="connsiteX1" fmla="*/ 1864800 w 1864800"/>
              <a:gd name="connsiteY1" fmla="*/ 932400 h 1864800"/>
              <a:gd name="connsiteX2" fmla="*/ 932400 w 1864800"/>
              <a:gd name="connsiteY2" fmla="*/ 1864800 h 1864800"/>
              <a:gd name="connsiteX3" fmla="*/ 0 w 1864800"/>
              <a:gd name="connsiteY3" fmla="*/ 932400 h 1864800"/>
              <a:gd name="connsiteX4" fmla="*/ 932400 w 1864800"/>
              <a:gd name="connsiteY4" fmla="*/ 0 h 18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4800" h="1864800">
                <a:moveTo>
                  <a:pt x="932400" y="0"/>
                </a:moveTo>
                <a:cubicBezTo>
                  <a:pt x="1447350" y="0"/>
                  <a:pt x="1864800" y="417450"/>
                  <a:pt x="1864800" y="932400"/>
                </a:cubicBezTo>
                <a:cubicBezTo>
                  <a:pt x="1864800" y="1447350"/>
                  <a:pt x="1447350" y="1864800"/>
                  <a:pt x="932400" y="1864800"/>
                </a:cubicBezTo>
                <a:cubicBezTo>
                  <a:pt x="417450" y="1864800"/>
                  <a:pt x="0" y="1447350"/>
                  <a:pt x="0" y="932400"/>
                </a:cubicBezTo>
                <a:cubicBezTo>
                  <a:pt x="0" y="417450"/>
                  <a:pt x="417450" y="0"/>
                  <a:pt x="932400" y="0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21136331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>
            <a:extLst>
              <a:ext uri="{FF2B5EF4-FFF2-40B4-BE49-F238E27FC236}">
                <a16:creationId xmlns:a16="http://schemas.microsoft.com/office/drawing/2014/main" id="{10FD66F8-8B01-2B4E-A9CF-12AA2008DEDB}"/>
              </a:ext>
            </a:extLst>
          </p:cNvPr>
          <p:cNvSpPr/>
          <p:nvPr userDrawn="1"/>
        </p:nvSpPr>
        <p:spPr bwMode="hidden">
          <a:xfrm>
            <a:off x="180000" y="186657"/>
            <a:ext cx="11833200" cy="649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59927-B94A-554F-9BA1-C08F7FA1D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5575" y="533400"/>
            <a:ext cx="1409700" cy="76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3D1DC7-1C9D-8448-A677-F4A314187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13"/>
          <a:stretch/>
        </p:blipFill>
        <p:spPr>
          <a:xfrm>
            <a:off x="10322092" y="6007395"/>
            <a:ext cx="1389495" cy="374446"/>
          </a:xfrm>
          <a:prstGeom prst="rect">
            <a:avLst/>
          </a:prstGeom>
        </p:spPr>
      </p:pic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FC1B1BAC-1723-9246-88B2-8A0D1368E1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9388" y="186657"/>
            <a:ext cx="6597930" cy="6499225"/>
          </a:xfrm>
          <a:custGeom>
            <a:avLst/>
            <a:gdLst>
              <a:gd name="connsiteX0" fmla="*/ 0 w 6597930"/>
              <a:gd name="connsiteY0" fmla="*/ 0 h 6499225"/>
              <a:gd name="connsiteX1" fmla="*/ 5980568 w 6597930"/>
              <a:gd name="connsiteY1" fmla="*/ 0 h 6499225"/>
              <a:gd name="connsiteX2" fmla="*/ 5995875 w 6597930"/>
              <a:gd name="connsiteY2" fmla="*/ 35465 h 6499225"/>
              <a:gd name="connsiteX3" fmla="*/ 6597930 w 6597930"/>
              <a:gd name="connsiteY3" fmla="*/ 3238461 h 6499225"/>
              <a:gd name="connsiteX4" fmla="*/ 5995875 w 6597930"/>
              <a:gd name="connsiteY4" fmla="*/ 6441458 h 6499225"/>
              <a:gd name="connsiteX5" fmla="*/ 5970943 w 6597930"/>
              <a:gd name="connsiteY5" fmla="*/ 6499225 h 6499225"/>
              <a:gd name="connsiteX6" fmla="*/ 0 w 6597930"/>
              <a:gd name="connsiteY6" fmla="*/ 6499225 h 649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930" h="6499225">
                <a:moveTo>
                  <a:pt x="0" y="0"/>
                </a:moveTo>
                <a:lnTo>
                  <a:pt x="5980568" y="0"/>
                </a:lnTo>
                <a:lnTo>
                  <a:pt x="5995875" y="35465"/>
                </a:lnTo>
                <a:cubicBezTo>
                  <a:pt x="6377925" y="969408"/>
                  <a:pt x="6597930" y="2065772"/>
                  <a:pt x="6597930" y="3238461"/>
                </a:cubicBezTo>
                <a:cubicBezTo>
                  <a:pt x="6597930" y="4411150"/>
                  <a:pt x="6377925" y="5507515"/>
                  <a:pt x="5995875" y="6441458"/>
                </a:cubicBezTo>
                <a:lnTo>
                  <a:pt x="5970943" y="6499225"/>
                </a:lnTo>
                <a:lnTo>
                  <a:pt x="0" y="64992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de-DE" dirty="0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34A650-CE2A-2E49-9C33-E7127A5BE7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189" y="5192633"/>
            <a:ext cx="749300" cy="749300"/>
          </a:xfrm>
          <a:prstGeom prst="rect">
            <a:avLst/>
          </a:prstGeom>
        </p:spPr>
      </p:pic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019338B1-9366-4D45-832F-99D6BFEFC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4075" y="2572385"/>
            <a:ext cx="3913188" cy="1522413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1"/>
                </a:solidFill>
              </a:defRPr>
            </a:lvl1pPr>
            <a:lvl2pPr marL="9525" indent="0">
              <a:lnSpc>
                <a:spcPts val="2200"/>
              </a:lnSpc>
              <a:spcBef>
                <a:spcPts val="0"/>
              </a:spcBef>
              <a:buNone/>
              <a:tabLst/>
              <a:defRPr sz="1800" b="1">
                <a:solidFill>
                  <a:schemeClr val="tx1"/>
                </a:solidFill>
              </a:defRPr>
            </a:lvl2pPr>
            <a:lvl3pPr marL="487362" indent="0">
              <a:buNone/>
              <a:defRPr sz="3200" b="1"/>
            </a:lvl3pPr>
            <a:lvl4pPr marL="731837" indent="0">
              <a:buNone/>
              <a:defRPr sz="3200" b="1"/>
            </a:lvl4pPr>
            <a:lvl5pPr marL="938213" indent="0">
              <a:buNone/>
              <a:defRPr sz="3200" b="1"/>
            </a:lvl5pPr>
          </a:lstStyle>
          <a:p>
            <a:pPr lvl="0"/>
            <a:r>
              <a:rPr lang="de-DE" dirty="0"/>
              <a:t>FRIALOC</a:t>
            </a:r>
            <a:r>
              <a:rPr lang="de-DE" baseline="30000" dirty="0">
                <a:solidFill>
                  <a:schemeClr val="accent1"/>
                </a:solidFill>
              </a:rPr>
              <a:t>®</a:t>
            </a:r>
            <a:br>
              <a:rPr lang="de-DE" dirty="0"/>
            </a:br>
            <a:r>
              <a:rPr lang="de-DE" dirty="0"/>
              <a:t>mit FRIAGRIP</a:t>
            </a:r>
            <a:r>
              <a:rPr lang="de-DE" baseline="30000" dirty="0">
                <a:solidFill>
                  <a:schemeClr val="accent1"/>
                </a:solidFill>
              </a:rPr>
              <a:t>® </a:t>
            </a:r>
            <a:endParaRPr lang="de-DE" dirty="0"/>
          </a:p>
          <a:p>
            <a:pPr lvl="1"/>
            <a:r>
              <a:rPr lang="de-DE" dirty="0"/>
              <a:t>PE-Absperrarmatur </a:t>
            </a:r>
          </a:p>
          <a:p>
            <a:pPr lvl="1"/>
            <a:r>
              <a:rPr lang="de-DE" dirty="0"/>
              <a:t>für jede Rohrleitung</a:t>
            </a:r>
          </a:p>
        </p:txBody>
      </p:sp>
    </p:spTree>
    <p:extLst>
      <p:ext uri="{BB962C8B-B14F-4D97-AF65-F5344CB8AC3E}">
        <p14:creationId xmlns:p14="http://schemas.microsoft.com/office/powerpoint/2010/main" val="2517121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slideLayout" Target="../slideLayouts/slideLayout21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tags" Target="../tags/tag28.xml"/><Relationship Id="rId2" Type="http://schemas.openxmlformats.org/officeDocument/2006/relationships/slideLayout" Target="../slideLayouts/slideLayout205.xml"/><Relationship Id="rId16" Type="http://schemas.openxmlformats.org/officeDocument/2006/relationships/tags" Target="../tags/tag27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08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213.xml"/><Relationship Id="rId19" Type="http://schemas.openxmlformats.org/officeDocument/2006/relationships/image" Target="../media/image18.emf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image" Target="../media/image18.emf"/><Relationship Id="rId2" Type="http://schemas.openxmlformats.org/officeDocument/2006/relationships/slideLayout" Target="../slideLayouts/slideLayout2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5" Type="http://schemas.openxmlformats.org/officeDocument/2006/relationships/tags" Target="../tags/tag37.xml"/><Relationship Id="rId10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tags" Target="../tags/tag3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4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8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ags" Target="../tags/tag1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image" Target="../media/image18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tags" Target="../tags/tag17.xml"/><Relationship Id="rId3" Type="http://schemas.openxmlformats.org/officeDocument/2006/relationships/slideLayout" Target="../slideLayouts/slideLayout114.xml"/><Relationship Id="rId21" Type="http://schemas.openxmlformats.org/officeDocument/2006/relationships/image" Target="../media/image18.emf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21.xml"/><Relationship Id="rId19" Type="http://schemas.openxmlformats.org/officeDocument/2006/relationships/tags" Target="../tags/tag18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30.xml"/><Relationship Id="rId21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slideLayout" Target="../slideLayouts/slideLayout152.xml"/><Relationship Id="rId33" Type="http://schemas.openxmlformats.org/officeDocument/2006/relationships/theme" Target="../theme/theme7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29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32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31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slideLayout" Target="../slideLayouts/slideLayout154.xml"/><Relationship Id="rId30" Type="http://schemas.openxmlformats.org/officeDocument/2006/relationships/slideLayout" Target="../slideLayouts/slideLayout157.xml"/><Relationship Id="rId8" Type="http://schemas.openxmlformats.org/officeDocument/2006/relationships/slideLayout" Target="../slideLayouts/slideLayout13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18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17" Type="http://schemas.openxmlformats.org/officeDocument/2006/relationships/slideLayout" Target="../slideLayouts/slideLayout176.xml"/><Relationship Id="rId2" Type="http://schemas.openxmlformats.org/officeDocument/2006/relationships/slideLayout" Target="../slideLayouts/slideLayout161.xml"/><Relationship Id="rId16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5" Type="http://schemas.openxmlformats.org/officeDocument/2006/relationships/slideLayout" Target="../slideLayouts/slideLayout174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169.xml"/><Relationship Id="rId19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slideLayout" Target="../slideLayouts/slideLayout173.xml"/><Relationship Id="rId22" Type="http://schemas.openxmlformats.org/officeDocument/2006/relationships/slideLayout" Target="../slideLayouts/slideLayout18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1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84.xml"/><Relationship Id="rId21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83.xml"/><Relationship Id="rId16" Type="http://schemas.openxmlformats.org/officeDocument/2006/relationships/slideLayout" Target="../slideLayouts/slideLayout197.xml"/><Relationship Id="rId20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slideLayout" Target="../slideLayouts/slideLayout196.xml"/><Relationship Id="rId23" Type="http://schemas.openxmlformats.org/officeDocument/2006/relationships/theme" Target="../theme/theme9.xml"/><Relationship Id="rId10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Relationship Id="rId22" Type="http://schemas.openxmlformats.org/officeDocument/2006/relationships/slideLayout" Target="../slideLayouts/slideLayout20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0281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14" r:id="rId2"/>
    <p:sldLayoutId id="2147483716" r:id="rId3"/>
    <p:sldLayoutId id="2147483719" r:id="rId4"/>
    <p:sldLayoutId id="2147483720" r:id="rId5"/>
    <p:sldLayoutId id="2147483721" r:id="rId6"/>
    <p:sldLayoutId id="2147483696" r:id="rId7"/>
    <p:sldLayoutId id="2147483693" r:id="rId8"/>
    <p:sldLayoutId id="2147483711" r:id="rId9"/>
    <p:sldLayoutId id="2147483694" r:id="rId10"/>
    <p:sldLayoutId id="2147483712" r:id="rId11"/>
    <p:sldLayoutId id="2147483662" r:id="rId12"/>
    <p:sldLayoutId id="2147483663" r:id="rId13"/>
    <p:sldLayoutId id="2147483697" r:id="rId14"/>
    <p:sldLayoutId id="2147483698" r:id="rId15"/>
    <p:sldLayoutId id="2147483710" r:id="rId16"/>
    <p:sldLayoutId id="2147483713" r:id="rId17"/>
    <p:sldLayoutId id="2147483691" r:id="rId18"/>
    <p:sldLayoutId id="2147483707" r:id="rId19"/>
    <p:sldLayoutId id="2147483695" r:id="rId20"/>
    <p:sldLayoutId id="2147483708" r:id="rId2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172" userDrawn="1">
          <p15:clr>
            <a:srgbClr val="F26B43"/>
          </p15:clr>
        </p15:guide>
        <p15:guide id="5" orient="horz" pos="3871" userDrawn="1">
          <p15:clr>
            <a:srgbClr val="F26B43"/>
          </p15:clr>
        </p15:guide>
        <p15:guide id="6" orient="horz" pos="4086" userDrawn="1">
          <p15:clr>
            <a:srgbClr val="F26B43"/>
          </p15:clr>
        </p15:guide>
        <p15:guide id="7" pos="3709" userDrawn="1">
          <p15:clr>
            <a:srgbClr val="F26B43"/>
          </p15:clr>
        </p15:guide>
        <p15:guide id="8" pos="3978" userDrawn="1">
          <p15:clr>
            <a:srgbClr val="F26B43"/>
          </p15:clr>
        </p15:guide>
        <p15:guide id="10" pos="292" userDrawn="1">
          <p15:clr>
            <a:srgbClr val="F26B43"/>
          </p15:clr>
        </p15:guide>
        <p15:guide id="11" pos="7396" userDrawn="1">
          <p15:clr>
            <a:srgbClr val="F26B43"/>
          </p15:clr>
        </p15:guide>
        <p15:guide id="12" orient="horz" pos="960" userDrawn="1">
          <p15:clr>
            <a:srgbClr val="F26B43"/>
          </p15:clr>
        </p15:guide>
        <p15:guide id="14" orient="horz" pos="621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46F0271-3988-412F-AA4F-E14EFEDDE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31879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32" imgH="530" progId="TCLayout.ActiveDocument.1">
                  <p:embed/>
                </p:oleObj>
              </mc:Choice>
              <mc:Fallback>
                <p:oleObj name="think-cell Slide" r:id="rId18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46F0271-3988-412F-AA4F-E14EFEDDE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B49206-2FFB-481B-95FC-82C83DB76D03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fr-FR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0890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49" r:id="rId12"/>
    <p:sldLayoutId id="2147483950" r:id="rId13"/>
    <p:sldLayoutId id="2147483951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46F0271-3988-412F-AA4F-E14EFEDDE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64359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32" imgH="530" progId="TCLayout.ActiveDocument.1">
                  <p:embed/>
                </p:oleObj>
              </mc:Choice>
              <mc:Fallback>
                <p:oleObj name="think-cell Slide" r:id="rId16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46F0271-3988-412F-AA4F-E14EFEDDE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B49206-2FFB-481B-95FC-82C83DB76D0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514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46F0271-3988-412F-AA4F-E14EFEDDE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64359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2" imgH="530" progId="TCLayout.ActiveDocument.1">
                  <p:embed/>
                </p:oleObj>
              </mc:Choice>
              <mc:Fallback>
                <p:oleObj name="think-cell Slide" r:id="rId21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46F0271-3988-412F-AA4F-E14EFEDDE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B49206-2FFB-481B-95FC-82C83DB76D03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5421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46F0271-3988-412F-AA4F-E14EFEDDE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62335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532" imgH="530" progId="TCLayout.ActiveDocument.1">
                  <p:embed/>
                </p:oleObj>
              </mc:Choice>
              <mc:Fallback>
                <p:oleObj name="think-cell Slide" r:id="rId31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46F0271-3988-412F-AA4F-E14EFEDDE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B49206-2FFB-481B-95FC-82C83DB76D03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5019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840" r:id="rId2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7923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2580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  <p:sldLayoutId id="2147483837" r:id="rId23"/>
    <p:sldLayoutId id="2147483838" r:id="rId2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46F0271-3988-412F-AA4F-E14EFEDDE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64359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32" imgH="530" progId="TCLayout.ActiveDocument.1">
                  <p:embed/>
                </p:oleObj>
              </mc:Choice>
              <mc:Fallback>
                <p:oleObj name="think-cell Slide" r:id="rId20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46F0271-3988-412F-AA4F-E14EFEDDE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B49206-2FFB-481B-95FC-82C83DB76D03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7806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de-DE"/>
              <a:t>Aliaxis Deutschland  |  FRIATEC  |  Infrastructur  I  Agriapipe Conference 01-25 Noszvaj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9893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  <p:sldLayoutId id="2147483876" r:id="rId18"/>
    <p:sldLayoutId id="2147483877" r:id="rId19"/>
    <p:sldLayoutId id="2147483878" r:id="rId20"/>
    <p:sldLayoutId id="2147483879" r:id="rId21"/>
    <p:sldLayoutId id="2147483880" r:id="rId22"/>
    <p:sldLayoutId id="2147483881" r:id="rId23"/>
    <p:sldLayoutId id="2147483882" r:id="rId24"/>
    <p:sldLayoutId id="2147483883" r:id="rId25"/>
    <p:sldLayoutId id="2147483884" r:id="rId26"/>
    <p:sldLayoutId id="2147483885" r:id="rId27"/>
    <p:sldLayoutId id="2147483886" r:id="rId28"/>
    <p:sldLayoutId id="2147483887" r:id="rId29"/>
    <p:sldLayoutId id="2147483888" r:id="rId30"/>
    <p:sldLayoutId id="2147483889" r:id="rId31"/>
    <p:sldLayoutId id="2147483890" r:id="rId3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fr-FR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7349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  <p:sldLayoutId id="2147483908" r:id="rId17"/>
    <p:sldLayoutId id="2147483909" r:id="rId18"/>
    <p:sldLayoutId id="2147483910" r:id="rId19"/>
    <p:sldLayoutId id="2147483911" r:id="rId20"/>
    <p:sldLayoutId id="2147483912" r:id="rId21"/>
    <p:sldLayoutId id="2147483913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99" y="1476000"/>
            <a:ext cx="11257200" cy="4669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15075" y="6468930"/>
            <a:ext cx="43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i="1">
                <a:solidFill>
                  <a:srgbClr val="7E7E7E"/>
                </a:solidFill>
              </a:defRPr>
            </a:lvl1pPr>
          </a:lstStyle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3550" y="6468930"/>
            <a:ext cx="540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E7E7E"/>
                </a:solidFill>
              </a:defRPr>
            </a:lvl1pPr>
          </a:lstStyle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7479" y="6468930"/>
            <a:ext cx="80772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7E7E7E"/>
                </a:solidFill>
              </a:defRPr>
            </a:lvl1pPr>
          </a:lstStyle>
          <a:p>
            <a:fld id="{B134DF7A-BEA9-4831-B46F-2B4DABD39A7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1130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  <p:sldLayoutId id="2147483934" r:id="rId20"/>
    <p:sldLayoutId id="2147483935" r:id="rId21"/>
    <p:sldLayoutId id="2147483936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0825" indent="-250825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Century Gothic" panose="020B0502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188913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55588" algn="l" defTabSz="76835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7100" indent="-195263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31775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entury Gothic" panose="020B0502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72">
          <p15:clr>
            <a:srgbClr val="F26B43"/>
          </p15:clr>
        </p15:guide>
        <p15:guide id="5" orient="horz" pos="3871">
          <p15:clr>
            <a:srgbClr val="F26B43"/>
          </p15:clr>
        </p15:guide>
        <p15:guide id="6" orient="horz" pos="4086">
          <p15:clr>
            <a:srgbClr val="F26B43"/>
          </p15:clr>
        </p15:guide>
        <p15:guide id="7" pos="3709">
          <p15:clr>
            <a:srgbClr val="F26B43"/>
          </p15:clr>
        </p15:guide>
        <p15:guide id="8" pos="3978">
          <p15:clr>
            <a:srgbClr val="F26B43"/>
          </p15:clr>
        </p15:guide>
        <p15:guide id="10" pos="292">
          <p15:clr>
            <a:srgbClr val="F26B43"/>
          </p15:clr>
        </p15:guide>
        <p15:guide id="11" pos="7396">
          <p15:clr>
            <a:srgbClr val="F26B43"/>
          </p15:clr>
        </p15:guide>
        <p15:guide id="12" orient="horz" pos="960">
          <p15:clr>
            <a:srgbClr val="F26B43"/>
          </p15:clr>
        </p15:guide>
        <p15:guide id="14" orient="horz" pos="6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65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6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tif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7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5.xml"/><Relationship Id="rId6" Type="http://schemas.openxmlformats.org/officeDocument/2006/relationships/image" Target="../media/image87.jp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87.xml"/><Relationship Id="rId4" Type="http://schemas.openxmlformats.org/officeDocument/2006/relationships/image" Target="../media/image90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7" Type="http://schemas.openxmlformats.org/officeDocument/2006/relationships/image" Target="../media/image95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4.png"/><Relationship Id="rId5" Type="http://schemas.microsoft.com/office/2007/relationships/hdphoto" Target="../media/hdphoto2.wdp"/><Relationship Id="rId4" Type="http://schemas.openxmlformats.org/officeDocument/2006/relationships/image" Target="../media/image9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6.png"/><Relationship Id="rId5" Type="http://schemas.openxmlformats.org/officeDocument/2006/relationships/image" Target="../media/image105.emf"/><Relationship Id="rId4" Type="http://schemas.openxmlformats.org/officeDocument/2006/relationships/image" Target="../media/image10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emf"/><Relationship Id="rId1" Type="http://schemas.openxmlformats.org/officeDocument/2006/relationships/slideLayout" Target="../slideLayouts/slideLayout15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15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g"/><Relationship Id="rId2" Type="http://schemas.openxmlformats.org/officeDocument/2006/relationships/image" Target="../media/image110.jpg"/><Relationship Id="rId1" Type="http://schemas.openxmlformats.org/officeDocument/2006/relationships/slideLayout" Target="../slideLayouts/slideLayout17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g"/><Relationship Id="rId2" Type="http://schemas.openxmlformats.org/officeDocument/2006/relationships/image" Target="../media/image112.jpg"/><Relationship Id="rId1" Type="http://schemas.openxmlformats.org/officeDocument/2006/relationships/slideLayout" Target="../slideLayouts/slideLayout175.xml"/><Relationship Id="rId6" Type="http://schemas.openxmlformats.org/officeDocument/2006/relationships/image" Target="../media/image116.jpeg"/><Relationship Id="rId5" Type="http://schemas.openxmlformats.org/officeDocument/2006/relationships/image" Target="../media/image115.jpg"/><Relationship Id="rId4" Type="http://schemas.openxmlformats.org/officeDocument/2006/relationships/image" Target="../media/image114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90.xml"/><Relationship Id="rId1" Type="http://schemas.openxmlformats.org/officeDocument/2006/relationships/tags" Target="../tags/tag46.xml"/><Relationship Id="rId6" Type="http://schemas.openxmlformats.org/officeDocument/2006/relationships/image" Target="../media/image117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jpeg"/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21.xml"/><Relationship Id="rId6" Type="http://schemas.openxmlformats.org/officeDocument/2006/relationships/image" Target="../media/image122.png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42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20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jpeg"/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22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22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130.jpeg"/><Relationship Id="rId1" Type="http://schemas.openxmlformats.org/officeDocument/2006/relationships/slideLayout" Target="../slideLayouts/slideLayout224.xml"/><Relationship Id="rId4" Type="http://schemas.openxmlformats.org/officeDocument/2006/relationships/image" Target="../media/image132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png"/><Relationship Id="rId13" Type="http://schemas.openxmlformats.org/officeDocument/2006/relationships/image" Target="../media/image140.svg"/><Relationship Id="rId3" Type="http://schemas.openxmlformats.org/officeDocument/2006/relationships/slideLayout" Target="../slideLayouts/slideLayout110.xml"/><Relationship Id="rId7" Type="http://schemas.openxmlformats.org/officeDocument/2006/relationships/image" Target="../media/image134.svg"/><Relationship Id="rId12" Type="http://schemas.openxmlformats.org/officeDocument/2006/relationships/image" Target="../media/image139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33.png"/><Relationship Id="rId11" Type="http://schemas.openxmlformats.org/officeDocument/2006/relationships/image" Target="../media/image138.svg"/><Relationship Id="rId5" Type="http://schemas.openxmlformats.org/officeDocument/2006/relationships/image" Target="../media/image46.emf"/><Relationship Id="rId10" Type="http://schemas.openxmlformats.org/officeDocument/2006/relationships/image" Target="../media/image137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36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mailto:rainer.mueller@aliaxis.co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4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59.jpg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6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Pfeife Flöte Rohr, Zylinder, Stahl, Blau enthält.&#10;&#10;Automatisch generierte Beschreibung">
            <a:extLst>
              <a:ext uri="{FF2B5EF4-FFF2-40B4-BE49-F238E27FC236}">
                <a16:creationId xmlns:a16="http://schemas.microsoft.com/office/drawing/2014/main" id="{33D885AE-5F27-74C3-09FB-5D4099F142B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32" r="11932"/>
          <a:stretch>
            <a:fillRect/>
          </a:stretch>
        </p:blipFill>
        <p:spPr/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4D7E22A-8E72-EB95-0C33-4F1ED12ACC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0624" y="439047"/>
            <a:ext cx="1470943" cy="867261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944A476D-493F-4BFC-CF20-2F1C17F4172B}"/>
              </a:ext>
            </a:extLst>
          </p:cNvPr>
          <p:cNvSpPr txBox="1"/>
          <p:nvPr/>
        </p:nvSpPr>
        <p:spPr>
          <a:xfrm>
            <a:off x="6777318" y="2425959"/>
            <a:ext cx="54146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chemeClr val="bg1"/>
                </a:solidFill>
              </a:rPr>
              <a:t>„PE HD </a:t>
            </a:r>
            <a:r>
              <a:rPr lang="de-DE" sz="2800" b="1" dirty="0" err="1">
                <a:solidFill>
                  <a:schemeClr val="bg1"/>
                </a:solidFill>
              </a:rPr>
              <a:t>béléscsővel</a:t>
            </a:r>
            <a:r>
              <a:rPr lang="de-DE" sz="2800" b="1" dirty="0">
                <a:solidFill>
                  <a:schemeClr val="bg1"/>
                </a:solidFill>
              </a:rPr>
              <a:t> </a:t>
            </a:r>
            <a:r>
              <a:rPr lang="de-DE" sz="2800" b="1" dirty="0" err="1">
                <a:solidFill>
                  <a:schemeClr val="bg1"/>
                </a:solidFill>
              </a:rPr>
              <a:t>felújított</a:t>
            </a:r>
            <a:r>
              <a:rPr lang="de-DE" sz="2800" b="1" dirty="0">
                <a:solidFill>
                  <a:schemeClr val="bg1"/>
                </a:solidFill>
              </a:rPr>
              <a:t> </a:t>
            </a:r>
            <a:r>
              <a:rPr lang="de-DE" sz="2800" b="1" dirty="0" err="1">
                <a:solidFill>
                  <a:schemeClr val="bg1"/>
                </a:solidFill>
              </a:rPr>
              <a:t>csővezetékek</a:t>
            </a:r>
            <a:r>
              <a:rPr lang="de-DE" sz="2800" b="1" dirty="0">
                <a:solidFill>
                  <a:schemeClr val="bg1"/>
                </a:solidFill>
              </a:rPr>
              <a:t> </a:t>
            </a:r>
            <a:r>
              <a:rPr lang="de-DE" sz="2800" b="1" dirty="0" err="1">
                <a:solidFill>
                  <a:schemeClr val="bg1"/>
                </a:solidFill>
              </a:rPr>
              <a:t>csatlakozó</a:t>
            </a:r>
            <a:r>
              <a:rPr lang="de-DE" sz="2800" b="1" dirty="0">
                <a:solidFill>
                  <a:schemeClr val="bg1"/>
                </a:solidFill>
              </a:rPr>
              <a:t> és </a:t>
            </a:r>
            <a:r>
              <a:rPr lang="de-DE" sz="2800" b="1" dirty="0" err="1">
                <a:solidFill>
                  <a:schemeClr val="bg1"/>
                </a:solidFill>
              </a:rPr>
              <a:t>leágazó</a:t>
            </a:r>
            <a:r>
              <a:rPr lang="de-DE" sz="2800" b="1" dirty="0">
                <a:solidFill>
                  <a:schemeClr val="bg1"/>
                </a:solidFill>
              </a:rPr>
              <a:t> </a:t>
            </a:r>
            <a:r>
              <a:rPr lang="de-DE" sz="2800" b="1" dirty="0" err="1">
                <a:solidFill>
                  <a:schemeClr val="bg1"/>
                </a:solidFill>
              </a:rPr>
              <a:t>elemei</a:t>
            </a:r>
            <a:r>
              <a:rPr lang="de-DE" sz="2800" b="1" dirty="0">
                <a:solidFill>
                  <a:schemeClr val="bg1"/>
                </a:solidFill>
              </a:rPr>
              <a:t> “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97DE426-C644-259F-0674-052DCD5C114F}"/>
              </a:ext>
            </a:extLst>
          </p:cNvPr>
          <p:cNvSpPr txBox="1"/>
          <p:nvPr/>
        </p:nvSpPr>
        <p:spPr>
          <a:xfrm>
            <a:off x="6837728" y="4768929"/>
            <a:ext cx="434606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chemeClr val="bg1"/>
                </a:solidFill>
              </a:rPr>
              <a:t>Rainer Mueller – Aliaxis / </a:t>
            </a:r>
            <a:r>
              <a:rPr lang="de-DE" sz="1600" b="1" dirty="0" err="1">
                <a:solidFill>
                  <a:schemeClr val="bg1"/>
                </a:solidFill>
              </a:rPr>
              <a:t>Friatec</a:t>
            </a:r>
            <a:r>
              <a:rPr lang="de-DE" sz="1600" b="1" dirty="0">
                <a:solidFill>
                  <a:schemeClr val="bg1"/>
                </a:solidFill>
              </a:rPr>
              <a:t> Germany</a:t>
            </a:r>
            <a:br>
              <a:rPr lang="de-DE" sz="1600" b="1" dirty="0">
                <a:solidFill>
                  <a:schemeClr val="bg1"/>
                </a:solidFill>
              </a:rPr>
            </a:br>
            <a:r>
              <a:rPr lang="de-DE" sz="1600" b="1" dirty="0">
                <a:solidFill>
                  <a:schemeClr val="bg1"/>
                </a:solidFill>
              </a:rPr>
              <a:t>Balazs Nagy – Aliaxis </a:t>
            </a:r>
            <a:r>
              <a:rPr lang="de-DE" sz="1600" b="1" dirty="0" err="1">
                <a:solidFill>
                  <a:schemeClr val="bg1"/>
                </a:solidFill>
              </a:rPr>
              <a:t>Hungary</a:t>
            </a:r>
            <a:br>
              <a:rPr lang="de-DE" sz="1600" b="1" dirty="0">
                <a:solidFill>
                  <a:schemeClr val="bg1"/>
                </a:solidFill>
              </a:rPr>
            </a:br>
            <a:r>
              <a:rPr lang="de-DE" sz="1600" b="1" dirty="0">
                <a:solidFill>
                  <a:schemeClr val="bg1"/>
                </a:solidFill>
              </a:rPr>
              <a:t>Peter </a:t>
            </a:r>
            <a:r>
              <a:rPr lang="de-DE" sz="1600" b="1" dirty="0" err="1">
                <a:solidFill>
                  <a:schemeClr val="bg1"/>
                </a:solidFill>
              </a:rPr>
              <a:t>Kollany</a:t>
            </a:r>
            <a:r>
              <a:rPr lang="de-DE" sz="1600" b="1" dirty="0">
                <a:solidFill>
                  <a:schemeClr val="bg1"/>
                </a:solidFill>
              </a:rPr>
              <a:t> – Aliaxis </a:t>
            </a:r>
            <a:r>
              <a:rPr lang="de-DE" sz="1600" b="1" dirty="0" err="1">
                <a:solidFill>
                  <a:schemeClr val="bg1"/>
                </a:solidFill>
              </a:rPr>
              <a:t>Hungary</a:t>
            </a:r>
            <a:endParaRPr lang="de-DE" sz="1600" b="1" dirty="0">
              <a:solidFill>
                <a:schemeClr val="bg1"/>
              </a:solidFill>
            </a:endParaRPr>
          </a:p>
          <a:p>
            <a:endParaRPr lang="de-DE" sz="1600" b="1" dirty="0">
              <a:solidFill>
                <a:schemeClr val="bg1"/>
              </a:solidFill>
            </a:endParaRPr>
          </a:p>
          <a:p>
            <a:endParaRPr lang="de-DE" sz="1600" b="1" dirty="0">
              <a:solidFill>
                <a:schemeClr val="bg1"/>
              </a:solidFill>
            </a:endParaRPr>
          </a:p>
          <a:p>
            <a:r>
              <a:rPr lang="de-DE" sz="1600" b="1" dirty="0" err="1">
                <a:solidFill>
                  <a:schemeClr val="bg1"/>
                </a:solidFill>
              </a:rPr>
              <a:t>Noszvaj</a:t>
            </a:r>
            <a:r>
              <a:rPr lang="de-DE" sz="1600" b="1" dirty="0">
                <a:solidFill>
                  <a:schemeClr val="bg1"/>
                </a:solidFill>
              </a:rPr>
              <a:t> 29</a:t>
            </a:r>
            <a:r>
              <a:rPr lang="de-DE" sz="1600" b="1" baseline="30000" dirty="0">
                <a:solidFill>
                  <a:schemeClr val="bg1"/>
                </a:solidFill>
              </a:rPr>
              <a:t>th</a:t>
            </a:r>
            <a:r>
              <a:rPr lang="de-DE" sz="1600" b="1" dirty="0">
                <a:solidFill>
                  <a:schemeClr val="bg1"/>
                </a:solidFill>
              </a:rPr>
              <a:t> of </a:t>
            </a:r>
            <a:r>
              <a:rPr lang="de-DE" sz="1600" b="1" dirty="0" err="1">
                <a:solidFill>
                  <a:schemeClr val="bg1"/>
                </a:solidFill>
              </a:rPr>
              <a:t>January</a:t>
            </a:r>
            <a:endParaRPr lang="de-DE" sz="1600" b="1" dirty="0">
              <a:solidFill>
                <a:schemeClr val="bg1"/>
              </a:solidFill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ADD682C-8073-7DEA-5C70-F5AB7B318E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42267" y="439047"/>
            <a:ext cx="1399592" cy="85911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283B6D8-1BFB-1788-E80C-29F5AE1643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79952" y="1304241"/>
            <a:ext cx="2293819" cy="48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7158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70F67D4-BDC9-FC51-B1BF-53B7B0C28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373" y="267969"/>
            <a:ext cx="11257200" cy="950786"/>
          </a:xfrm>
        </p:spPr>
        <p:txBody>
          <a:bodyPr/>
          <a:lstStyle/>
          <a:p>
            <a:r>
              <a:rPr lang="de-DE" sz="2800" dirty="0">
                <a:solidFill>
                  <a:schemeClr val="accent1"/>
                </a:solidFill>
              </a:rPr>
              <a:t>FRAISAFE </a:t>
            </a:r>
            <a:r>
              <a:rPr lang="de-DE" sz="2800" dirty="0" err="1">
                <a:solidFill>
                  <a:schemeClr val="accent1"/>
                </a:solidFill>
              </a:rPr>
              <a:t>alternatív</a:t>
            </a:r>
            <a:r>
              <a:rPr lang="de-DE" sz="2800" dirty="0">
                <a:solidFill>
                  <a:schemeClr val="accent1"/>
                </a:solidFill>
              </a:rPr>
              <a:t> </a:t>
            </a:r>
            <a:r>
              <a:rPr lang="de-DE" sz="2800" dirty="0" err="1">
                <a:solidFill>
                  <a:schemeClr val="accent1"/>
                </a:solidFill>
              </a:rPr>
              <a:t>kötéstechnológia</a:t>
            </a:r>
            <a:r>
              <a:rPr lang="de-DE" sz="2800" dirty="0">
                <a:solidFill>
                  <a:schemeClr val="accent1"/>
                </a:solidFill>
              </a:rPr>
              <a:t> PE-HD </a:t>
            </a:r>
            <a:r>
              <a:rPr lang="de-DE" sz="2800" dirty="0" err="1">
                <a:solidFill>
                  <a:schemeClr val="accent1"/>
                </a:solidFill>
              </a:rPr>
              <a:t>relining</a:t>
            </a:r>
            <a:r>
              <a:rPr lang="de-DE" sz="2800" dirty="0">
                <a:solidFill>
                  <a:schemeClr val="accent1"/>
                </a:solidFill>
              </a:rPr>
              <a:t> </a:t>
            </a:r>
            <a:r>
              <a:rPr lang="de-DE" sz="2800" dirty="0" err="1">
                <a:solidFill>
                  <a:schemeClr val="accent1"/>
                </a:solidFill>
              </a:rPr>
              <a:t>csövekhez</a:t>
            </a:r>
            <a:r>
              <a:rPr lang="de-DE" sz="2800" dirty="0">
                <a:solidFill>
                  <a:schemeClr val="accent1"/>
                </a:solidFill>
              </a:rPr>
              <a:t>, </a:t>
            </a:r>
            <a:r>
              <a:rPr lang="de-DE" sz="2800" dirty="0" err="1">
                <a:solidFill>
                  <a:schemeClr val="accent1"/>
                </a:solidFill>
              </a:rPr>
              <a:t>vagy</a:t>
            </a:r>
            <a:r>
              <a:rPr lang="de-DE" sz="2800" dirty="0">
                <a:solidFill>
                  <a:schemeClr val="accent1"/>
                </a:solidFill>
              </a:rPr>
              <a:t> </a:t>
            </a:r>
            <a:r>
              <a:rPr lang="de-DE" sz="2800" dirty="0" err="1">
                <a:solidFill>
                  <a:schemeClr val="accent1"/>
                </a:solidFill>
              </a:rPr>
              <a:t>egyéb</a:t>
            </a:r>
            <a:r>
              <a:rPr lang="de-DE" sz="2800" dirty="0">
                <a:solidFill>
                  <a:schemeClr val="accent1"/>
                </a:solidFill>
              </a:rPr>
              <a:t> </a:t>
            </a:r>
            <a:r>
              <a:rPr lang="de-DE" sz="2800" dirty="0" err="1">
                <a:solidFill>
                  <a:schemeClr val="accent1"/>
                </a:solidFill>
              </a:rPr>
              <a:t>csőanyagokhoz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A0FE57-9E22-4A61-B7CD-3DA5F46DF5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iaxis Deutschland  |  FRIATEC  |  Infrastructur  I  Agriapipe Conference 01-25 Noszvaj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726343-F684-4136-8BB8-4D900A159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98A5C-4F7A-42A9-892E-7087F691D702}" type="slidenum">
              <a:rPr lang="de-DE" smtClean="0"/>
              <a:t>10</a:t>
            </a:fld>
            <a:endParaRPr lang="de-DE"/>
          </a:p>
        </p:txBody>
      </p:sp>
      <p:pic>
        <p:nvPicPr>
          <p:cNvPr id="7" name="Grafik 6" descr="Ein Bild, das Metallwaren, Zahnrad, Maschine enthält.&#10;&#10;Automatisch generierte Beschreibung">
            <a:extLst>
              <a:ext uri="{FF2B5EF4-FFF2-40B4-BE49-F238E27FC236}">
                <a16:creationId xmlns:a16="http://schemas.microsoft.com/office/drawing/2014/main" id="{1A305757-20F9-4AC9-BE72-38DD8F6636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96" b="91276" l="9961" r="89941">
                        <a14:foregroundMark x1="59961" y1="9896" x2="62402" y2="13021"/>
                        <a14:foregroundMark x1="60449" y1="91276" x2="62305" y2="91276"/>
                        <a14:foregroundMark x1="43848" y1="80729" x2="48145" y2="84375"/>
                        <a14:foregroundMark x1="47656" y1="85547" x2="44336" y2="82552"/>
                        <a14:foregroundMark x1="31445" y1="69661" x2="26855" y2="66406"/>
                        <a14:foregroundMark x1="29297" y1="68750" x2="33398" y2="73958"/>
                        <a14:foregroundMark x1="32715" y1="72266" x2="31250" y2="72266"/>
                        <a14:foregroundMark x1="20996" y1="57813" x2="20996" y2="57813"/>
                        <a14:foregroundMark x1="20996" y1="57552" x2="20898" y2="57943"/>
                        <a14:foregroundMark x1="20898" y1="58333" x2="20898" y2="58333"/>
                        <a14:foregroundMark x1="20508" y1="58333" x2="20508" y2="58333"/>
                        <a14:foregroundMark x1="20410" y1="57813" x2="20410" y2="57813"/>
                        <a14:foregroundMark x1="20703" y1="57813" x2="20703" y2="57813"/>
                        <a14:foregroundMark x1="20996" y1="58854" x2="20996" y2="58854"/>
                        <a14:foregroundMark x1="71484" y1="14844" x2="71484" y2="14844"/>
                        <a14:foregroundMark x1="74414" y1="16276" x2="74414" y2="16276"/>
                        <a14:foregroundMark x1="75195" y1="16667" x2="75195" y2="16667"/>
                        <a14:foregroundMark x1="78223" y1="20703" x2="78223" y2="20703"/>
                        <a14:foregroundMark x1="48926" y1="86849" x2="48926" y2="86849"/>
                        <a14:foregroundMark x1="49512" y1="87240" x2="49512" y2="87240"/>
                        <a14:foregroundMark x1="50586" y1="88281" x2="50586" y2="88281"/>
                        <a14:foregroundMark x1="51367" y1="88802" x2="51367" y2="8880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01862" y="1166786"/>
            <a:ext cx="6350222" cy="529882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2738979-123C-491D-A2EF-3D990C70B05C}"/>
              </a:ext>
            </a:extLst>
          </p:cNvPr>
          <p:cNvSpPr txBox="1"/>
          <p:nvPr/>
        </p:nvSpPr>
        <p:spPr>
          <a:xfrm>
            <a:off x="873884" y="1717281"/>
            <a:ext cx="434748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l" rtl="0"/>
            <a:r>
              <a:rPr lang="hu-HU" sz="3600" b="1" baseline="30000" dirty="0">
                <a:latin typeface="+mj-lt"/>
              </a:rPr>
              <a:t>Rozsdamentes acél gyűrű rögzítő elemekkel</a:t>
            </a:r>
            <a:r>
              <a:rPr lang="de-DE" sz="3600" b="1" baseline="30000" dirty="0">
                <a:latin typeface="+mj-lt"/>
              </a:rPr>
              <a:t>.</a:t>
            </a:r>
            <a:endParaRPr lang="de-DE" sz="2800" i="0" u="none" strike="noStrike" baseline="30000" dirty="0">
              <a:latin typeface="+mj-lt"/>
            </a:endParaRP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516C807-F4EF-4D4B-AA9C-2F2057088251}"/>
              </a:ext>
            </a:extLst>
          </p:cNvPr>
          <p:cNvCxnSpPr>
            <a:cxnSpLocks/>
          </p:cNvCxnSpPr>
          <p:nvPr/>
        </p:nvCxnSpPr>
        <p:spPr>
          <a:xfrm>
            <a:off x="10064177" y="1055734"/>
            <a:ext cx="1047565" cy="835601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27E09BDB-6195-43C4-AD66-1452B0222414}"/>
              </a:ext>
            </a:extLst>
          </p:cNvPr>
          <p:cNvCxnSpPr>
            <a:cxnSpLocks/>
          </p:cNvCxnSpPr>
          <p:nvPr/>
        </p:nvCxnSpPr>
        <p:spPr>
          <a:xfrm flipV="1">
            <a:off x="9959126" y="4451944"/>
            <a:ext cx="2004517" cy="26787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55491EA6-A38D-4200-AD01-648416D5E545}"/>
              </a:ext>
            </a:extLst>
          </p:cNvPr>
          <p:cNvSpPr txBox="1"/>
          <p:nvPr/>
        </p:nvSpPr>
        <p:spPr>
          <a:xfrm>
            <a:off x="443718" y="4378318"/>
            <a:ext cx="387526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l" rtl="0"/>
            <a:r>
              <a:rPr lang="hu-HU" sz="3600" b="1" baseline="30000" dirty="0">
                <a:latin typeface="+mj-lt"/>
              </a:rPr>
              <a:t>Nyomógyűrű az erőfelvételhez</a:t>
            </a:r>
            <a:endParaRPr lang="de-DE" sz="2800" b="1" i="0" u="none" strike="noStrike" baseline="30000" dirty="0">
              <a:latin typeface="+mj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8597EED-E5E6-45B3-913D-BEBE462B258C}"/>
              </a:ext>
            </a:extLst>
          </p:cNvPr>
          <p:cNvSpPr txBox="1"/>
          <p:nvPr/>
        </p:nvSpPr>
        <p:spPr>
          <a:xfrm>
            <a:off x="8549159" y="1506205"/>
            <a:ext cx="325664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l" rtl="0"/>
            <a:r>
              <a:rPr lang="hu-HU" sz="3600" b="1" baseline="30000" dirty="0">
                <a:latin typeface="+mj-lt"/>
              </a:rPr>
              <a:t>T</a:t>
            </a:r>
            <a:r>
              <a:rPr lang="de-DE" sz="3600" b="1" baseline="30000" dirty="0" err="1">
                <a:latin typeface="+mj-lt"/>
              </a:rPr>
              <a:t>ömítés</a:t>
            </a:r>
            <a:r>
              <a:rPr lang="de-DE" sz="3600" b="1" baseline="30000" dirty="0">
                <a:latin typeface="+mj-lt"/>
              </a:rPr>
              <a:t> </a:t>
            </a:r>
            <a:r>
              <a:rPr lang="de-DE" sz="3600" b="1" baseline="30000" dirty="0" err="1">
                <a:latin typeface="+mj-lt"/>
              </a:rPr>
              <a:t>háromszoros</a:t>
            </a:r>
            <a:r>
              <a:rPr lang="de-DE" sz="3600" b="1" baseline="30000" dirty="0">
                <a:latin typeface="+mj-lt"/>
              </a:rPr>
              <a:t> </a:t>
            </a:r>
            <a:r>
              <a:rPr lang="de-DE" sz="3600" b="1" baseline="30000" dirty="0" err="1">
                <a:latin typeface="+mj-lt"/>
              </a:rPr>
              <a:t>funkcióva</a:t>
            </a:r>
            <a:r>
              <a:rPr lang="hu-HU" sz="3600" b="1" baseline="30000" dirty="0">
                <a:latin typeface="+mj-lt"/>
              </a:rPr>
              <a:t>l</a:t>
            </a:r>
            <a:r>
              <a:rPr lang="de-DE" sz="3600" b="1" baseline="30000" dirty="0">
                <a:latin typeface="+mj-lt"/>
              </a:rPr>
              <a:t>.</a:t>
            </a:r>
            <a:endParaRPr lang="de-DE" sz="2800" b="1" i="0" u="none" strike="noStrike" baseline="30000" dirty="0">
              <a:latin typeface="+mj-lt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EF151EA-D6E0-484B-B3E6-F81202ADD971}"/>
              </a:ext>
            </a:extLst>
          </p:cNvPr>
          <p:cNvGrpSpPr/>
          <p:nvPr/>
        </p:nvGrpSpPr>
        <p:grpSpPr>
          <a:xfrm>
            <a:off x="988291" y="2384735"/>
            <a:ext cx="3227803" cy="665018"/>
            <a:chOff x="988291" y="2384735"/>
            <a:chExt cx="3227803" cy="665018"/>
          </a:xfrm>
        </p:grpSpPr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952AE573-0DBD-4233-A7D7-462C37D77E2F}"/>
                </a:ext>
              </a:extLst>
            </p:cNvPr>
            <p:cNvSpPr/>
            <p:nvPr/>
          </p:nvSpPr>
          <p:spPr>
            <a:xfrm>
              <a:off x="2835564" y="2384735"/>
              <a:ext cx="1380530" cy="665018"/>
            </a:xfrm>
            <a:custGeom>
              <a:avLst/>
              <a:gdLst>
                <a:gd name="connsiteX0" fmla="*/ 0 w 1560946"/>
                <a:gd name="connsiteY0" fmla="*/ 0 h 665018"/>
                <a:gd name="connsiteX1" fmla="*/ 1025236 w 1560946"/>
                <a:gd name="connsiteY1" fmla="*/ 0 h 665018"/>
                <a:gd name="connsiteX2" fmla="*/ 1560946 w 1560946"/>
                <a:gd name="connsiteY2" fmla="*/ 665018 h 66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0946" h="665018">
                  <a:moveTo>
                    <a:pt x="0" y="0"/>
                  </a:moveTo>
                  <a:lnTo>
                    <a:pt x="1025236" y="0"/>
                  </a:lnTo>
                  <a:lnTo>
                    <a:pt x="1560946" y="665018"/>
                  </a:lnTo>
                </a:path>
              </a:pathLst>
            </a:cu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80A23B7-0C9D-41F8-ACE3-4716E8801139}"/>
                </a:ext>
              </a:extLst>
            </p:cNvPr>
            <p:cNvCxnSpPr/>
            <p:nvPr/>
          </p:nvCxnSpPr>
          <p:spPr>
            <a:xfrm flipH="1">
              <a:off x="988291" y="2384735"/>
              <a:ext cx="1847273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99B5D350-A322-49BC-9CC6-BF01E0EB9321}"/>
              </a:ext>
            </a:extLst>
          </p:cNvPr>
          <p:cNvGrpSpPr/>
          <p:nvPr/>
        </p:nvGrpSpPr>
        <p:grpSpPr>
          <a:xfrm flipH="1">
            <a:off x="7149346" y="2179671"/>
            <a:ext cx="3524144" cy="870079"/>
            <a:chOff x="988291" y="2384735"/>
            <a:chExt cx="3227803" cy="665018"/>
          </a:xfrm>
        </p:grpSpPr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E58C1CC5-DE0F-450C-8D12-34F64660655C}"/>
                </a:ext>
              </a:extLst>
            </p:cNvPr>
            <p:cNvSpPr/>
            <p:nvPr/>
          </p:nvSpPr>
          <p:spPr>
            <a:xfrm>
              <a:off x="2835564" y="2384735"/>
              <a:ext cx="1380530" cy="665018"/>
            </a:xfrm>
            <a:custGeom>
              <a:avLst/>
              <a:gdLst>
                <a:gd name="connsiteX0" fmla="*/ 0 w 1560946"/>
                <a:gd name="connsiteY0" fmla="*/ 0 h 665018"/>
                <a:gd name="connsiteX1" fmla="*/ 1025236 w 1560946"/>
                <a:gd name="connsiteY1" fmla="*/ 0 h 665018"/>
                <a:gd name="connsiteX2" fmla="*/ 1560946 w 1560946"/>
                <a:gd name="connsiteY2" fmla="*/ 665018 h 66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0946" h="665018">
                  <a:moveTo>
                    <a:pt x="0" y="0"/>
                  </a:moveTo>
                  <a:lnTo>
                    <a:pt x="1025236" y="0"/>
                  </a:lnTo>
                  <a:lnTo>
                    <a:pt x="1560946" y="665018"/>
                  </a:lnTo>
                </a:path>
              </a:pathLst>
            </a:cu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ECB635F1-CEF2-4F58-87F6-A8DF0C813515}"/>
                </a:ext>
              </a:extLst>
            </p:cNvPr>
            <p:cNvCxnSpPr/>
            <p:nvPr/>
          </p:nvCxnSpPr>
          <p:spPr>
            <a:xfrm flipH="1">
              <a:off x="988291" y="2384735"/>
              <a:ext cx="1847273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feld 36">
            <a:extLst>
              <a:ext uri="{FF2B5EF4-FFF2-40B4-BE49-F238E27FC236}">
                <a16:creationId xmlns:a16="http://schemas.microsoft.com/office/drawing/2014/main" id="{57895ADD-E380-430C-B0B8-93C3D7160064}"/>
              </a:ext>
            </a:extLst>
          </p:cNvPr>
          <p:cNvSpPr txBox="1"/>
          <p:nvPr/>
        </p:nvSpPr>
        <p:spPr>
          <a:xfrm>
            <a:off x="8468557" y="2683713"/>
            <a:ext cx="325664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l" rtl="0"/>
            <a:r>
              <a:rPr lang="hu-HU" sz="3600" b="1" baseline="30000" dirty="0">
                <a:latin typeface="+mj-lt"/>
              </a:rPr>
              <a:t>Rugalmas szorítógyűrű, minimális hatással a csőre</a:t>
            </a:r>
            <a:endParaRPr lang="de-DE" sz="2800" b="1" i="0" u="none" strike="noStrike" baseline="30000" dirty="0">
              <a:latin typeface="+mj-lt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20C1CD1-0127-4FD8-ACA4-2A27768525A0}"/>
              </a:ext>
            </a:extLst>
          </p:cNvPr>
          <p:cNvGrpSpPr/>
          <p:nvPr/>
        </p:nvGrpSpPr>
        <p:grpSpPr>
          <a:xfrm flipH="1">
            <a:off x="7406276" y="4054800"/>
            <a:ext cx="3962639" cy="665018"/>
            <a:chOff x="152283" y="2384735"/>
            <a:chExt cx="4063811" cy="665018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8293F46E-E9C6-4268-9A59-CEFFBF5047F9}"/>
                </a:ext>
              </a:extLst>
            </p:cNvPr>
            <p:cNvSpPr/>
            <p:nvPr/>
          </p:nvSpPr>
          <p:spPr>
            <a:xfrm>
              <a:off x="2835564" y="2384735"/>
              <a:ext cx="1380530" cy="665018"/>
            </a:xfrm>
            <a:custGeom>
              <a:avLst/>
              <a:gdLst>
                <a:gd name="connsiteX0" fmla="*/ 0 w 1560946"/>
                <a:gd name="connsiteY0" fmla="*/ 0 h 665018"/>
                <a:gd name="connsiteX1" fmla="*/ 1025236 w 1560946"/>
                <a:gd name="connsiteY1" fmla="*/ 0 h 665018"/>
                <a:gd name="connsiteX2" fmla="*/ 1560946 w 1560946"/>
                <a:gd name="connsiteY2" fmla="*/ 665018 h 66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0946" h="665018">
                  <a:moveTo>
                    <a:pt x="0" y="0"/>
                  </a:moveTo>
                  <a:lnTo>
                    <a:pt x="1025236" y="0"/>
                  </a:lnTo>
                  <a:lnTo>
                    <a:pt x="1560946" y="665018"/>
                  </a:lnTo>
                </a:path>
              </a:pathLst>
            </a:cu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992B23D0-E0ED-4E09-BC34-E119C18AA6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2283" y="2384735"/>
              <a:ext cx="2683281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Freihandform: Form 44">
            <a:extLst>
              <a:ext uri="{FF2B5EF4-FFF2-40B4-BE49-F238E27FC236}">
                <a16:creationId xmlns:a16="http://schemas.microsoft.com/office/drawing/2014/main" id="{80FF4EB5-4643-4DB4-9496-E39C5750B817}"/>
              </a:ext>
            </a:extLst>
          </p:cNvPr>
          <p:cNvSpPr/>
          <p:nvPr/>
        </p:nvSpPr>
        <p:spPr>
          <a:xfrm>
            <a:off x="502546" y="4231251"/>
            <a:ext cx="5090160" cy="833120"/>
          </a:xfrm>
          <a:custGeom>
            <a:avLst/>
            <a:gdLst>
              <a:gd name="connsiteX0" fmla="*/ 5090160 w 5090160"/>
              <a:gd name="connsiteY0" fmla="*/ 0 h 833120"/>
              <a:gd name="connsiteX1" fmla="*/ 4470400 w 5090160"/>
              <a:gd name="connsiteY1" fmla="*/ 822960 h 833120"/>
              <a:gd name="connsiteX2" fmla="*/ 0 w 5090160"/>
              <a:gd name="connsiteY2" fmla="*/ 833120 h 833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90160" h="833120">
                <a:moveTo>
                  <a:pt x="5090160" y="0"/>
                </a:moveTo>
                <a:lnTo>
                  <a:pt x="4470400" y="822960"/>
                </a:lnTo>
                <a:lnTo>
                  <a:pt x="0" y="833120"/>
                </a:lnTo>
              </a:path>
            </a:pathLst>
          </a:cu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791ADAC8-3D24-A0DD-8B71-58128B1D0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04543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E81F52-A086-498F-B8CF-848EE1C1A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509" y="224861"/>
            <a:ext cx="11257200" cy="950786"/>
          </a:xfrm>
        </p:spPr>
        <p:txBody>
          <a:bodyPr/>
          <a:lstStyle/>
          <a:p>
            <a:r>
              <a:rPr lang="hu-HU" sz="4000" baseline="30000" dirty="0"/>
              <a:t>Korrózióálló gyűrű és erősített rögzítőelem</a:t>
            </a:r>
            <a:endParaRPr lang="de-DE" sz="40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0A5115-C35F-4059-A9F5-6F8C1C1EE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98A5C-4F7A-42A9-892E-7087F691D702}" type="slidenum">
              <a:rPr lang="de-DE" smtClean="0"/>
              <a:t>11</a:t>
            </a:fld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EEB5CBB-298C-4F2A-B122-308520BB2863}"/>
              </a:ext>
            </a:extLst>
          </p:cNvPr>
          <p:cNvSpPr txBox="1"/>
          <p:nvPr/>
        </p:nvSpPr>
        <p:spPr>
          <a:xfrm>
            <a:off x="463550" y="839940"/>
            <a:ext cx="5400000" cy="4188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hu-HU" sz="2000" b="1" dirty="0"/>
              <a:t>Háromrétegű kialakítás</a:t>
            </a:r>
          </a:p>
          <a:p>
            <a:pPr>
              <a:lnSpc>
                <a:spcPct val="150000"/>
              </a:lnSpc>
            </a:pPr>
            <a:r>
              <a:rPr lang="hu-HU" sz="2000" dirty="0"/>
              <a:t>Önzáró kivitel</a:t>
            </a:r>
            <a:endParaRPr lang="de-DE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háromszoros nyomatékhatás a 3 rétegű kialakítás révé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önközpontosító kivitel</a:t>
            </a:r>
            <a:endParaRPr lang="de-DE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 err="1"/>
              <a:t>koncentrikus</a:t>
            </a:r>
            <a:r>
              <a:rPr lang="de-DE" sz="2000" dirty="0"/>
              <a:t> </a:t>
            </a:r>
            <a:r>
              <a:rPr lang="de-DE" sz="2000" dirty="0" err="1"/>
              <a:t>erő</a:t>
            </a:r>
            <a:r>
              <a:rPr lang="hu-HU" sz="2000" dirty="0"/>
              <a:t>hatású kialakítá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rögzítő elemek a megnövelt biztonságért</a:t>
            </a:r>
            <a:endParaRPr lang="de-DE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Alapanyag: s/s</a:t>
            </a:r>
            <a:r>
              <a:rPr lang="en-US" sz="2000" dirty="0"/>
              <a:t> AISI 316 / 1.4404</a:t>
            </a:r>
            <a:endParaRPr lang="de-DE" sz="2000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94DFFC9-203F-4CC4-A4D0-C50276D1E240}"/>
              </a:ext>
            </a:extLst>
          </p:cNvPr>
          <p:cNvGrpSpPr/>
          <p:nvPr/>
        </p:nvGrpSpPr>
        <p:grpSpPr>
          <a:xfrm>
            <a:off x="5890183" y="1114438"/>
            <a:ext cx="6155538" cy="4106101"/>
            <a:chOff x="5981807" y="761226"/>
            <a:chExt cx="6155538" cy="4106101"/>
          </a:xfrm>
        </p:grpSpPr>
        <p:pic>
          <p:nvPicPr>
            <p:cNvPr id="9" name="Grafik 8" descr="Ein Bild, das Metallwaren, Zahnrad, Maschine enthält.&#10;&#10;Automatisch generierte Beschreibung">
              <a:extLst>
                <a:ext uri="{FF2B5EF4-FFF2-40B4-BE49-F238E27FC236}">
                  <a16:creationId xmlns:a16="http://schemas.microsoft.com/office/drawing/2014/main" id="{C7BF7084-7F6D-439C-B90C-5DC0219B5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896" b="91276" l="9961" r="89941">
                          <a14:foregroundMark x1="59961" y1="9896" x2="62402" y2="13021"/>
                          <a14:foregroundMark x1="60449" y1="91276" x2="62305" y2="91276"/>
                          <a14:foregroundMark x1="43848" y1="80729" x2="48145" y2="84375"/>
                          <a14:foregroundMark x1="47656" y1="85547" x2="44336" y2="82552"/>
                          <a14:foregroundMark x1="31445" y1="69661" x2="26855" y2="66406"/>
                          <a14:foregroundMark x1="29297" y1="68750" x2="33398" y2="73958"/>
                          <a14:foregroundMark x1="32715" y1="72266" x2="31250" y2="72266"/>
                          <a14:foregroundMark x1="20996" y1="57813" x2="20996" y2="57813"/>
                          <a14:foregroundMark x1="20996" y1="57552" x2="20898" y2="57943"/>
                          <a14:foregroundMark x1="20898" y1="58333" x2="20898" y2="58333"/>
                          <a14:foregroundMark x1="20508" y1="58333" x2="20508" y2="58333"/>
                          <a14:foregroundMark x1="20410" y1="57813" x2="20410" y2="57813"/>
                          <a14:foregroundMark x1="20703" y1="57813" x2="20703" y2="57813"/>
                          <a14:foregroundMark x1="20996" y1="58854" x2="20996" y2="58854"/>
                          <a14:foregroundMark x1="71484" y1="14844" x2="71484" y2="14844"/>
                          <a14:foregroundMark x1="74414" y1="16276" x2="74414" y2="16276"/>
                          <a14:foregroundMark x1="75195" y1="16667" x2="75195" y2="16667"/>
                          <a14:foregroundMark x1="78223" y1="20703" x2="78223" y2="20703"/>
                          <a14:foregroundMark x1="48926" y1="86849" x2="48926" y2="86849"/>
                          <a14:foregroundMark x1="49512" y1="87240" x2="49512" y2="87240"/>
                          <a14:foregroundMark x1="50586" y1="88281" x2="50586" y2="88281"/>
                          <a14:foregroundMark x1="51367" y1="88802" x2="51367" y2="88802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216504" y="761226"/>
              <a:ext cx="4920841" cy="4106101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0CFBE7BB-1E00-4AA6-9819-B87BB94A8122}"/>
                </a:ext>
              </a:extLst>
            </p:cNvPr>
            <p:cNvSpPr txBox="1"/>
            <p:nvPr/>
          </p:nvSpPr>
          <p:spPr>
            <a:xfrm>
              <a:off x="5981807" y="907683"/>
              <a:ext cx="253542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algn="l" rtl="0"/>
              <a:r>
                <a:rPr lang="de-DE" sz="2400" b="1" i="0" u="none" strike="noStrike" baseline="30000" dirty="0" err="1">
                  <a:latin typeface="+mj-lt"/>
                </a:rPr>
                <a:t>stainless</a:t>
              </a:r>
              <a:r>
                <a:rPr lang="de-DE" sz="2400" b="1" i="0" u="none" strike="noStrike" baseline="30000" dirty="0">
                  <a:latin typeface="+mj-lt"/>
                </a:rPr>
                <a:t> </a:t>
              </a:r>
              <a:r>
                <a:rPr lang="de-DE" sz="2400" b="1" baseline="30000" dirty="0" err="1">
                  <a:latin typeface="+mj-lt"/>
                </a:rPr>
                <a:t>s</a:t>
              </a:r>
              <a:r>
                <a:rPr lang="de-DE" sz="2400" b="1" i="0" u="none" strike="noStrike" baseline="30000" dirty="0" err="1">
                  <a:latin typeface="+mj-lt"/>
                </a:rPr>
                <a:t>teel</a:t>
              </a:r>
              <a:r>
                <a:rPr lang="de-DE" sz="2400" b="1" i="0" u="none" strike="noStrike" baseline="30000" dirty="0">
                  <a:latin typeface="+mj-lt"/>
                </a:rPr>
                <a:t> </a:t>
              </a:r>
              <a:r>
                <a:rPr lang="de-DE" sz="2400" b="1" baseline="30000" dirty="0" err="1">
                  <a:latin typeface="+mj-lt"/>
                </a:rPr>
                <a:t>s</a:t>
              </a:r>
              <a:r>
                <a:rPr lang="de-DE" sz="2400" b="1" i="0" u="none" strike="noStrike" baseline="30000" dirty="0" err="1">
                  <a:latin typeface="+mj-lt"/>
                </a:rPr>
                <a:t>trap</a:t>
              </a:r>
              <a:endParaRPr lang="de-DE" sz="2400" b="1" i="0" u="none" strike="noStrike" baseline="30000" dirty="0">
                <a:latin typeface="+mj-lt"/>
              </a:endParaRPr>
            </a:p>
            <a:p>
              <a:pPr marR="0" algn="l" rtl="0"/>
              <a:r>
                <a:rPr lang="de-DE" b="1" baseline="30000" dirty="0">
                  <a:latin typeface="+mj-lt"/>
                </a:rPr>
                <a:t>incl. </a:t>
              </a:r>
              <a:r>
                <a:rPr lang="de-DE" b="1" baseline="30000" dirty="0" err="1">
                  <a:latin typeface="+mj-lt"/>
                </a:rPr>
                <a:t>fixing</a:t>
              </a:r>
              <a:r>
                <a:rPr lang="de-DE" b="1" baseline="30000" dirty="0">
                  <a:latin typeface="+mj-lt"/>
                </a:rPr>
                <a:t> </a:t>
              </a:r>
              <a:r>
                <a:rPr lang="de-DE" b="1" baseline="30000" dirty="0" err="1">
                  <a:latin typeface="+mj-lt"/>
                </a:rPr>
                <a:t>laces</a:t>
              </a:r>
              <a:endParaRPr lang="de-DE" i="0" u="none" strike="noStrike" baseline="30000" dirty="0">
                <a:latin typeface="+mj-lt"/>
              </a:endParaRP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6949899C-D0BB-4470-9F67-0E863399C401}"/>
                </a:ext>
              </a:extLst>
            </p:cNvPr>
            <p:cNvGrpSpPr/>
            <p:nvPr/>
          </p:nvGrpSpPr>
          <p:grpSpPr>
            <a:xfrm>
              <a:off x="6080788" y="1354461"/>
              <a:ext cx="2394286" cy="665018"/>
              <a:chOff x="1821807" y="2384735"/>
              <a:chExt cx="2394286" cy="665018"/>
            </a:xfrm>
          </p:grpSpPr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77ABE434-DC25-47B9-9A78-7BD0304684FE}"/>
                  </a:ext>
                </a:extLst>
              </p:cNvPr>
              <p:cNvSpPr/>
              <p:nvPr/>
            </p:nvSpPr>
            <p:spPr>
              <a:xfrm>
                <a:off x="3533284" y="2384735"/>
                <a:ext cx="682809" cy="665018"/>
              </a:xfrm>
              <a:custGeom>
                <a:avLst/>
                <a:gdLst>
                  <a:gd name="connsiteX0" fmla="*/ 0 w 1560946"/>
                  <a:gd name="connsiteY0" fmla="*/ 0 h 665018"/>
                  <a:gd name="connsiteX1" fmla="*/ 1025236 w 1560946"/>
                  <a:gd name="connsiteY1" fmla="*/ 0 h 665018"/>
                  <a:gd name="connsiteX2" fmla="*/ 1560946 w 1560946"/>
                  <a:gd name="connsiteY2" fmla="*/ 665018 h 665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60946" h="665018">
                    <a:moveTo>
                      <a:pt x="0" y="0"/>
                    </a:moveTo>
                    <a:lnTo>
                      <a:pt x="1025236" y="0"/>
                    </a:lnTo>
                    <a:lnTo>
                      <a:pt x="1560946" y="665018"/>
                    </a:lnTo>
                  </a:path>
                </a:pathLst>
              </a:custGeom>
              <a:noFill/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4" name="Gerader Verbinder 13">
                <a:extLst>
                  <a:ext uri="{FF2B5EF4-FFF2-40B4-BE49-F238E27FC236}">
                    <a16:creationId xmlns:a16="http://schemas.microsoft.com/office/drawing/2014/main" id="{C3852323-D914-4AAB-BC83-1AFA71146B5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821807" y="2384735"/>
                <a:ext cx="1866429" cy="0"/>
              </a:xfrm>
              <a:prstGeom prst="line">
                <a:avLst/>
              </a:prstGeom>
              <a:ln w="1905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EBC0A5A6-3137-01AF-8A1F-C7450BA61047}"/>
              </a:ext>
            </a:extLst>
          </p:cNvPr>
          <p:cNvGrpSpPr>
            <a:grpSpLocks noChangeAspect="1"/>
          </p:cNvGrpSpPr>
          <p:nvPr/>
        </p:nvGrpSpPr>
        <p:grpSpPr>
          <a:xfrm>
            <a:off x="5644022" y="4135254"/>
            <a:ext cx="2781588" cy="2358788"/>
            <a:chOff x="4996136" y="3871822"/>
            <a:chExt cx="2781588" cy="2358788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D72BC28F-D7B3-4E8F-9B8C-2902F8FBAC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400000">
              <a:off x="5207536" y="3660422"/>
              <a:ext cx="2358788" cy="2781588"/>
            </a:xfrm>
            <a:prstGeom prst="rect">
              <a:avLst/>
            </a:prstGeom>
          </p:spPr>
        </p:pic>
        <p:sp>
          <p:nvSpPr>
            <p:cNvPr id="16" name="Geschweifte Klammer rechts 15">
              <a:extLst>
                <a:ext uri="{FF2B5EF4-FFF2-40B4-BE49-F238E27FC236}">
                  <a16:creationId xmlns:a16="http://schemas.microsoft.com/office/drawing/2014/main" id="{5C6C7F17-A67D-4953-B0A6-AA24A6565121}"/>
                </a:ext>
              </a:extLst>
            </p:cNvPr>
            <p:cNvSpPr/>
            <p:nvPr/>
          </p:nvSpPr>
          <p:spPr>
            <a:xfrm rot="16200000">
              <a:off x="5078654" y="4448229"/>
              <a:ext cx="307773" cy="291364"/>
            </a:xfrm>
            <a:prstGeom prst="rightBrac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567E7BC-F50B-42E4-9060-4E80824491EF}"/>
                </a:ext>
              </a:extLst>
            </p:cNvPr>
            <p:cNvSpPr txBox="1"/>
            <p:nvPr/>
          </p:nvSpPr>
          <p:spPr>
            <a:xfrm>
              <a:off x="5028559" y="4078803"/>
              <a:ext cx="4438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3x</a:t>
              </a: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A407586-30E1-47EC-9B0A-EC271E6CB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ACB5A13-057F-24B5-B4FC-49AF3552B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7499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B210B-1C78-4618-B51E-75781C7A4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IASAFE </a:t>
            </a:r>
            <a:r>
              <a:rPr lang="de-DE" dirty="0" err="1"/>
              <a:t>Jellemzők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5EB17B2-A2A9-4126-9EA0-0D0685873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98A5C-4F7A-42A9-892E-7087F691D702}" type="slidenum">
              <a:rPr lang="de-DE" smtClean="0"/>
              <a:t>12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47A7F11-7A9A-47E4-95D0-AA39801D17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970" b="9776"/>
          <a:stretch/>
        </p:blipFill>
        <p:spPr>
          <a:xfrm>
            <a:off x="611038" y="816293"/>
            <a:ext cx="4372465" cy="3074386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879A7D2-E9C3-4F53-9804-FC68EA983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7A34742-660E-49ED-339E-B32E32D3008E}"/>
              </a:ext>
            </a:extLst>
          </p:cNvPr>
          <p:cNvSpPr txBox="1"/>
          <p:nvPr/>
        </p:nvSpPr>
        <p:spPr>
          <a:xfrm>
            <a:off x="5651273" y="945917"/>
            <a:ext cx="6296515" cy="55737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lerakódás</a:t>
            </a:r>
            <a:r>
              <a:rPr lang="de-DE" sz="2000" dirty="0" err="1"/>
              <a:t>mentes</a:t>
            </a:r>
            <a:r>
              <a:rPr lang="hu-HU" sz="2000" dirty="0"/>
              <a:t> kivitel</a:t>
            </a:r>
            <a:r>
              <a:rPr lang="de-DE" sz="2000" dirty="0"/>
              <a:t>, egy </a:t>
            </a:r>
            <a:r>
              <a:rPr lang="de-DE" sz="2000" dirty="0" err="1"/>
              <a:t>darabból</a:t>
            </a:r>
            <a:r>
              <a:rPr lang="de-DE" sz="2000" dirty="0"/>
              <a:t> </a:t>
            </a:r>
            <a:r>
              <a:rPr lang="de-DE" sz="2000" dirty="0" err="1"/>
              <a:t>álló</a:t>
            </a:r>
            <a:r>
              <a:rPr lang="de-DE" sz="2000" dirty="0"/>
              <a:t> EPDM </a:t>
            </a:r>
            <a:r>
              <a:rPr lang="de-DE" sz="2000" dirty="0" err="1"/>
              <a:t>tömítés</a:t>
            </a:r>
            <a:r>
              <a:rPr lang="de-DE" sz="2000" dirty="0"/>
              <a:t> </a:t>
            </a:r>
            <a:endParaRPr lang="hu-HU" sz="2000" dirty="0"/>
          </a:p>
          <a:p>
            <a:pPr lvl="1">
              <a:lnSpc>
                <a:spcPct val="150000"/>
              </a:lnSpc>
            </a:pPr>
            <a:r>
              <a:rPr lang="de-DE" sz="2000" dirty="0">
                <a:sym typeface="Wingdings" panose="05000000000000000000" pitchFamily="2" charset="2"/>
              </a:rPr>
              <a:t> </a:t>
            </a:r>
            <a:r>
              <a:rPr lang="hu-HU" sz="2000" dirty="0"/>
              <a:t>Nincs baktérium szaporodás</a:t>
            </a:r>
            <a:endParaRPr lang="de-DE" sz="2000" dirty="0"/>
          </a:p>
          <a:p>
            <a:pPr lvl="1">
              <a:lnSpc>
                <a:spcPct val="150000"/>
              </a:lnSpc>
            </a:pPr>
            <a:r>
              <a:rPr lang="de-DE" sz="2000" dirty="0">
                <a:sym typeface="Wingdings" panose="05000000000000000000" pitchFamily="2" charset="2"/>
              </a:rPr>
              <a:t> </a:t>
            </a:r>
            <a:r>
              <a:rPr lang="hu-HU" sz="2000" dirty="0"/>
              <a:t>Nincs vízkőlerakódás</a:t>
            </a:r>
            <a:endParaRPr lang="de-DE" sz="20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Csak egyetlen anyag érintkezik a vízzel</a:t>
            </a:r>
            <a:r>
              <a:rPr lang="de-DE" sz="2000" dirty="0"/>
              <a:t>:</a:t>
            </a:r>
          </a:p>
          <a:p>
            <a:pPr lvl="1">
              <a:lnSpc>
                <a:spcPct val="150000"/>
              </a:lnSpc>
            </a:pPr>
            <a:r>
              <a:rPr lang="de-DE" sz="2000" dirty="0">
                <a:sym typeface="Wingdings" panose="05000000000000000000" pitchFamily="2" charset="2"/>
              </a:rPr>
              <a:t> </a:t>
            </a:r>
            <a:r>
              <a:rPr lang="de-DE" sz="2000" dirty="0"/>
              <a:t>EPDM </a:t>
            </a:r>
            <a:r>
              <a:rPr lang="hu-HU" sz="2000" dirty="0"/>
              <a:t>tömítés</a:t>
            </a:r>
            <a:endParaRPr lang="de-DE" sz="20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Csak vékonyfalú PEHD és PVC-U csövek esetén szükséges a </a:t>
            </a:r>
            <a:r>
              <a:rPr lang="hu-HU" sz="2000" dirty="0" err="1"/>
              <a:t>támászatógyűrű</a:t>
            </a:r>
            <a:endParaRPr lang="de-DE" sz="20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Önközpontosítő kivitel</a:t>
            </a:r>
            <a:endParaRPr lang="de-DE" sz="20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Üzemi hőmérséklet</a:t>
            </a:r>
            <a:r>
              <a:rPr lang="de-DE" sz="2000" dirty="0"/>
              <a:t>: -20°C t</a:t>
            </a:r>
            <a:r>
              <a:rPr lang="hu-HU" sz="2000" dirty="0"/>
              <a:t>ól</a:t>
            </a:r>
            <a:r>
              <a:rPr lang="de-DE" sz="2000" dirty="0"/>
              <a:t> +30°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000" dirty="0"/>
              <a:t>Nem alkalmas </a:t>
            </a:r>
            <a:r>
              <a:rPr lang="de-DE" sz="2000" dirty="0"/>
              <a:t>PWIS / </a:t>
            </a:r>
            <a:r>
              <a:rPr lang="hu-HU" sz="2000" dirty="0"/>
              <a:t>szilikonmentes alkalmazásokhoz</a:t>
            </a:r>
            <a:endParaRPr lang="de-DE" sz="2000" dirty="0"/>
          </a:p>
        </p:txBody>
      </p:sp>
      <p:pic>
        <p:nvPicPr>
          <p:cNvPr id="4" name="Grafik 3" descr="Ein Bild, das Boden, Person, draußen, Werkzeug enthält.&#10;&#10;Automatisch generierte Beschreibung">
            <a:extLst>
              <a:ext uri="{FF2B5EF4-FFF2-40B4-BE49-F238E27FC236}">
                <a16:creationId xmlns:a16="http://schemas.microsoft.com/office/drawing/2014/main" id="{05C8B611-EE48-A94E-316E-B894E0E5F7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11" t="110" r="14931" b="21116"/>
          <a:stretch/>
        </p:blipFill>
        <p:spPr>
          <a:xfrm>
            <a:off x="611038" y="4090550"/>
            <a:ext cx="1933147" cy="2178509"/>
          </a:xfrm>
          <a:prstGeom prst="rect">
            <a:avLst/>
          </a:prstGeom>
        </p:spPr>
      </p:pic>
      <p:pic>
        <p:nvPicPr>
          <p:cNvPr id="7" name="Grafik 6" descr="Ein Bild, das Text, Boden, schmutzig enthält.&#10;&#10;Automatisch generierte Beschreibung">
            <a:extLst>
              <a:ext uri="{FF2B5EF4-FFF2-40B4-BE49-F238E27FC236}">
                <a16:creationId xmlns:a16="http://schemas.microsoft.com/office/drawing/2014/main" id="{E8CFE93F-3C1F-B0E7-3161-C9F4B4A5364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87" r="13748"/>
          <a:stretch/>
        </p:blipFill>
        <p:spPr>
          <a:xfrm>
            <a:off x="2797269" y="4090550"/>
            <a:ext cx="1636707" cy="2173974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C865C3B-8B08-AB74-BE14-208F30C98A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86330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Gelände, draußen, Stein, Blau enthält.&#10;&#10;Automatisch generierte Beschreibung">
            <a:extLst>
              <a:ext uri="{FF2B5EF4-FFF2-40B4-BE49-F238E27FC236}">
                <a16:creationId xmlns:a16="http://schemas.microsoft.com/office/drawing/2014/main" id="{5E3E84B5-314F-0358-80CE-532F195FB0A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5" r="13385"/>
          <a:stretch>
            <a:fillRect/>
          </a:stretch>
        </p:blipFill>
        <p:spPr/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741329E-0E08-20CC-300B-E8588B74D0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IXBLOC</a:t>
            </a:r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D0404CC-F735-DCA2-A8FA-2AF540B472E0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7872413" y="6469063"/>
            <a:ext cx="4319587" cy="269875"/>
          </a:xfrm>
        </p:spPr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D725D7-EE56-14D9-0FE4-BAAE143737B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383963" y="6469063"/>
            <a:ext cx="808037" cy="269875"/>
          </a:xfrm>
        </p:spPr>
        <p:txBody>
          <a:bodyPr/>
          <a:lstStyle/>
          <a:p>
            <a:fld id="{B134DF7A-BEA9-4831-B46F-2B4DABD39A7D}" type="slidenum">
              <a:rPr lang="en-GB" smtClean="0"/>
              <a:t>13</a:t>
            </a:fld>
            <a:endParaRPr lang="en-GB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2101272-1187-5C72-5404-6218FB52FE5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69063"/>
            <a:ext cx="5632450" cy="269875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77EA017D-DA71-0414-0B24-FA81B5E1E697}"/>
              </a:ext>
            </a:extLst>
          </p:cNvPr>
          <p:cNvSpPr txBox="1">
            <a:spLocks/>
          </p:cNvSpPr>
          <p:nvPr/>
        </p:nvSpPr>
        <p:spPr>
          <a:xfrm>
            <a:off x="7204075" y="3034642"/>
            <a:ext cx="4140577" cy="597897"/>
          </a:xfrm>
          <a:prstGeom prst="rect">
            <a:avLst/>
          </a:prstGeom>
        </p:spPr>
        <p:txBody>
          <a:bodyPr/>
          <a:lstStyle>
            <a:lvl1pPr marL="250825" indent="-25082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entury Gothic" panose="020B0502020202020204" pitchFamily="34" charset="0"/>
              <a:buNone/>
            </a:pPr>
            <a:r>
              <a:rPr lang="de-DE" b="1" dirty="0" err="1">
                <a:solidFill>
                  <a:schemeClr val="bg1"/>
                </a:solidFill>
              </a:rPr>
              <a:t>Megoldás</a:t>
            </a:r>
            <a:r>
              <a:rPr lang="de-DE" b="1" dirty="0">
                <a:solidFill>
                  <a:schemeClr val="bg1"/>
                </a:solidFill>
              </a:rPr>
              <a:t>  PE-HD </a:t>
            </a:r>
            <a:r>
              <a:rPr lang="de-DE" b="1" dirty="0" err="1">
                <a:solidFill>
                  <a:schemeClr val="bg1"/>
                </a:solidFill>
              </a:rPr>
              <a:t>csövek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err="1">
                <a:solidFill>
                  <a:schemeClr val="bg1"/>
                </a:solidFill>
              </a:rPr>
              <a:t>axiális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err="1">
                <a:solidFill>
                  <a:schemeClr val="bg1"/>
                </a:solidFill>
              </a:rPr>
              <a:t>megfogásához</a:t>
            </a:r>
            <a:r>
              <a:rPr lang="de-DE" b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412070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D851CD86-7E9A-4D0F-84E8-243CD52D3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IAFIT</a:t>
            </a:r>
            <a:r>
              <a:rPr lang="en-US" baseline="30000" dirty="0"/>
              <a:t>®</a:t>
            </a:r>
            <a:r>
              <a:rPr lang="en-US" dirty="0"/>
              <a:t>  FIXBLOC </a:t>
            </a:r>
            <a:r>
              <a:rPr lang="hu-HU" dirty="0"/>
              <a:t>mérettartomány </a:t>
            </a:r>
            <a:r>
              <a:rPr lang="en-US" dirty="0"/>
              <a:t>d</a:t>
            </a:r>
            <a:r>
              <a:rPr lang="hu-HU" dirty="0"/>
              <a:t>n</a:t>
            </a:r>
            <a:r>
              <a:rPr lang="en-US" dirty="0"/>
              <a:t> 160 - d</a:t>
            </a:r>
            <a:r>
              <a:rPr lang="hu-HU" dirty="0"/>
              <a:t>n</a:t>
            </a:r>
            <a:r>
              <a:rPr lang="en-US" dirty="0"/>
              <a:t> 1.600</a:t>
            </a:r>
            <a:r>
              <a:rPr lang="en-US" b="0" dirty="0"/>
              <a:t> ​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42FB5EBF-6786-45C5-AA0B-DD2BA03559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5782" y="1476000"/>
            <a:ext cx="2016651" cy="528039"/>
          </a:xfrm>
        </p:spPr>
        <p:txBody>
          <a:bodyPr/>
          <a:lstStyle/>
          <a:p>
            <a:pPr marL="0" indent="0">
              <a:buNone/>
            </a:pPr>
            <a:r>
              <a:rPr lang="hu-HU" sz="1400" b="1" dirty="0"/>
              <a:t>Biztonság </a:t>
            </a:r>
            <a:r>
              <a:rPr lang="de-DE" sz="1400" b="1" dirty="0"/>
              <a:t>SLIPLINING</a:t>
            </a:r>
            <a:r>
              <a:rPr lang="hu-HU" sz="1400" b="1" dirty="0"/>
              <a:t> alkalmazásnál</a:t>
            </a:r>
            <a:endParaRPr lang="de-DE" sz="140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979604-8507-4193-AFD8-8A7EA2A6B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557FA-6AF7-4FE4-ADB9-06BE2F620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14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A7C609F-1AFB-4B9E-B276-D7A0CA83A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796C41B0-D3A0-4887-A212-2DC9A0F103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750" y="897042"/>
            <a:ext cx="2349581" cy="170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>
            <a:extLst>
              <a:ext uri="{FF2B5EF4-FFF2-40B4-BE49-F238E27FC236}">
                <a16:creationId xmlns:a16="http://schemas.microsoft.com/office/drawing/2014/main" id="{8755386F-56C6-4092-A92A-51061A8B9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9099" y="897042"/>
            <a:ext cx="2267984" cy="1726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CF1CDF8C-48B4-4B84-BC87-953EBDFB182C}"/>
              </a:ext>
            </a:extLst>
          </p:cNvPr>
          <p:cNvSpPr/>
          <p:nvPr/>
        </p:nvSpPr>
        <p:spPr>
          <a:xfrm>
            <a:off x="2483315" y="1166786"/>
            <a:ext cx="17062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hu-HU" sz="1200" dirty="0"/>
              <a:t>Biztosítja a zömített polietilén bélelőcső behúzását</a:t>
            </a:r>
            <a:endParaRPr lang="de-DE" sz="1200" b="0" i="0" dirty="0">
              <a:effectLst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1F2A2A4-99CD-48B6-BD9D-033B5F2B8705}"/>
              </a:ext>
            </a:extLst>
          </p:cNvPr>
          <p:cNvSpPr/>
          <p:nvPr/>
        </p:nvSpPr>
        <p:spPr>
          <a:xfrm>
            <a:off x="6752623" y="1173042"/>
            <a:ext cx="129118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hu-HU" sz="1200" dirty="0"/>
              <a:t>Megakadályozza a cső elmozdulást a bélelő cső behúzása után</a:t>
            </a:r>
            <a:endParaRPr lang="de-DE" sz="1200" b="0" i="0" dirty="0">
              <a:effectLst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ED08FF0-D6E6-4877-B5DB-143975EE3A0E}"/>
              </a:ext>
            </a:extLst>
          </p:cNvPr>
          <p:cNvSpPr/>
          <p:nvPr/>
        </p:nvSpPr>
        <p:spPr>
          <a:xfrm>
            <a:off x="10485748" y="1173042"/>
            <a:ext cx="17062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Beton </a:t>
            </a:r>
            <a:r>
              <a:rPr lang="en-US" sz="1200" dirty="0" err="1"/>
              <a:t>falhoz</a:t>
            </a:r>
            <a:r>
              <a:rPr lang="en-US" sz="1200" dirty="0"/>
              <a:t> </a:t>
            </a:r>
            <a:r>
              <a:rPr lang="en-US" sz="1200" dirty="0" err="1"/>
              <a:t>történő</a:t>
            </a:r>
            <a:r>
              <a:rPr lang="en-US" sz="1200" dirty="0"/>
              <a:t> </a:t>
            </a:r>
            <a:r>
              <a:rPr lang="en-US" sz="1200" dirty="0" err="1"/>
              <a:t>cső</a:t>
            </a:r>
            <a:r>
              <a:rPr lang="en-US" sz="1200" dirty="0"/>
              <a:t> </a:t>
            </a:r>
            <a:r>
              <a:rPr lang="en-US" sz="1200" dirty="0" err="1"/>
              <a:t>rögzítés</a:t>
            </a:r>
            <a:r>
              <a:rPr lang="en-US" sz="1200" dirty="0"/>
              <a:t> </a:t>
            </a:r>
            <a:r>
              <a:rPr lang="en-US" sz="1200" dirty="0" err="1"/>
              <a:t>aknában</a:t>
            </a:r>
            <a:r>
              <a:rPr lang="en-US" sz="1200" dirty="0"/>
              <a:t> </a:t>
            </a:r>
            <a:endParaRPr lang="de-DE" sz="12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8F7E569-B84E-4D2A-A63E-F34F73763004}"/>
              </a:ext>
            </a:extLst>
          </p:cNvPr>
          <p:cNvSpPr/>
          <p:nvPr/>
        </p:nvSpPr>
        <p:spPr>
          <a:xfrm>
            <a:off x="153971" y="2957908"/>
            <a:ext cx="202362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hu-HU" sz="1400" b="1" dirty="0"/>
              <a:t>SZABADBAN LÉVŐ</a:t>
            </a:r>
          </a:p>
          <a:p>
            <a:pPr fontAlgn="base"/>
            <a:r>
              <a:rPr lang="hu-HU" sz="1400" b="1" i="0" dirty="0">
                <a:effectLst/>
              </a:rPr>
              <a:t>CSŐVEZETÉKEK</a:t>
            </a:r>
            <a:r>
              <a:rPr lang="hu-HU" sz="1400" b="1" dirty="0"/>
              <a:t>NÉL IS HASZNÁLHATÓ</a:t>
            </a:r>
            <a:endParaRPr lang="hu-HU" sz="1400" b="1" i="0" dirty="0">
              <a:effectLst/>
            </a:endParaRPr>
          </a:p>
        </p:txBody>
      </p:sp>
      <p:pic>
        <p:nvPicPr>
          <p:cNvPr id="11270" name="Picture 6">
            <a:extLst>
              <a:ext uri="{FF2B5EF4-FFF2-40B4-BE49-F238E27FC236}">
                <a16:creationId xmlns:a16="http://schemas.microsoft.com/office/drawing/2014/main" id="{643CEC28-EAD6-4071-AC7F-B1A4CEA8AA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749" y="2872231"/>
            <a:ext cx="2349581" cy="1724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2" name="Picture 8">
            <a:extLst>
              <a:ext uri="{FF2B5EF4-FFF2-40B4-BE49-F238E27FC236}">
                <a16:creationId xmlns:a16="http://schemas.microsoft.com/office/drawing/2014/main" id="{0A48DA1C-A5B4-472A-BE01-40064E67FC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9311" y="2872231"/>
            <a:ext cx="1864186" cy="1761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CCD8EC1-7C7B-4666-A36C-C6DE0AB00A9D}"/>
              </a:ext>
            </a:extLst>
          </p:cNvPr>
          <p:cNvSpPr/>
          <p:nvPr/>
        </p:nvSpPr>
        <p:spPr>
          <a:xfrm>
            <a:off x="2378984" y="3188740"/>
            <a:ext cx="18105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200" dirty="0"/>
              <a:t>Fix rögzítés kialakításához</a:t>
            </a: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36B0DA5-6627-4651-81A5-39F745AE34E5}"/>
              </a:ext>
            </a:extLst>
          </p:cNvPr>
          <p:cNvSpPr/>
          <p:nvPr/>
        </p:nvSpPr>
        <p:spPr>
          <a:xfrm>
            <a:off x="6698805" y="3105834"/>
            <a:ext cx="19415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200" dirty="0"/>
              <a:t>Rögzítés a falon szabadban történő szerelésnél</a:t>
            </a:r>
            <a:endParaRPr lang="de-DE" sz="12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02C0850-0CF0-4194-8A6F-C53C1E225233}"/>
              </a:ext>
            </a:extLst>
          </p:cNvPr>
          <p:cNvSpPr/>
          <p:nvPr/>
        </p:nvSpPr>
        <p:spPr>
          <a:xfrm>
            <a:off x="10365068" y="3187008"/>
            <a:ext cx="19125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/>
              <a:t>Rögzítősúlyos</a:t>
            </a:r>
            <a:r>
              <a:rPr lang="en-US" sz="1200" dirty="0"/>
              <a:t> fix </a:t>
            </a:r>
            <a:r>
              <a:rPr lang="en-US" sz="1200" dirty="0" err="1"/>
              <a:t>pont</a:t>
            </a:r>
            <a:r>
              <a:rPr lang="en-US" sz="1200" dirty="0"/>
              <a:t> </a:t>
            </a:r>
            <a:r>
              <a:rPr lang="en-US" sz="1200" dirty="0" err="1"/>
              <a:t>kialakítás</a:t>
            </a:r>
            <a:r>
              <a:rPr lang="en-US" sz="1200" dirty="0"/>
              <a:t> </a:t>
            </a:r>
            <a:endParaRPr lang="de-DE" sz="12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681B5B4-8793-46DB-AE8F-2E23768BBD61}"/>
              </a:ext>
            </a:extLst>
          </p:cNvPr>
          <p:cNvSpPr/>
          <p:nvPr/>
        </p:nvSpPr>
        <p:spPr>
          <a:xfrm>
            <a:off x="171153" y="5161719"/>
            <a:ext cx="184451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hu-HU" sz="1400" b="1" dirty="0"/>
              <a:t>EGYSZERŰ RÖGZÍTÉS –BIZTONSÁGOS ÉS MEGBÍZHATÓ</a:t>
            </a:r>
            <a:endParaRPr lang="en-US" sz="1400" b="0" i="0" dirty="0">
              <a:effectLst/>
            </a:endParaRPr>
          </a:p>
        </p:txBody>
      </p:sp>
      <p:pic>
        <p:nvPicPr>
          <p:cNvPr id="11274" name="Picture 10">
            <a:extLst>
              <a:ext uri="{FF2B5EF4-FFF2-40B4-BE49-F238E27FC236}">
                <a16:creationId xmlns:a16="http://schemas.microsoft.com/office/drawing/2014/main" id="{EF47215B-42FC-4628-8C62-705A09F197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3248" y="4799232"/>
            <a:ext cx="1933575" cy="1466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6" name="Picture 12">
            <a:extLst>
              <a:ext uri="{FF2B5EF4-FFF2-40B4-BE49-F238E27FC236}">
                <a16:creationId xmlns:a16="http://schemas.microsoft.com/office/drawing/2014/main" id="{4B06E0C2-C507-4F14-87BC-7A262C112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740" y="5051003"/>
            <a:ext cx="2266950" cy="117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8" name="Picture 14">
            <a:extLst>
              <a:ext uri="{FF2B5EF4-FFF2-40B4-BE49-F238E27FC236}">
                <a16:creationId xmlns:a16="http://schemas.microsoft.com/office/drawing/2014/main" id="{33BB35C8-CA64-452C-A6E2-A825B177C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6788" y="4782844"/>
            <a:ext cx="1698287" cy="1782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0C7214A9-C0CB-4D3B-A4D5-AFD16B78D31B}"/>
              </a:ext>
            </a:extLst>
          </p:cNvPr>
          <p:cNvSpPr/>
          <p:nvPr/>
        </p:nvSpPr>
        <p:spPr>
          <a:xfrm>
            <a:off x="4637378" y="5473556"/>
            <a:ext cx="14991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200" dirty="0" err="1"/>
              <a:t>Spaniferrel</a:t>
            </a:r>
            <a:r>
              <a:rPr lang="hu-HU" sz="1200" dirty="0"/>
              <a:t> történő rögzítés</a:t>
            </a:r>
            <a:endParaRPr lang="de-DE" sz="12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1A4103-8066-4709-ADA9-0E940574FAA3}"/>
              </a:ext>
            </a:extLst>
          </p:cNvPr>
          <p:cNvSpPr/>
          <p:nvPr/>
        </p:nvSpPr>
        <p:spPr>
          <a:xfrm>
            <a:off x="10917479" y="5128959"/>
            <a:ext cx="116728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200" dirty="0"/>
              <a:t>Fix Bloc </a:t>
            </a:r>
            <a:r>
              <a:rPr lang="en-US" sz="1200" dirty="0" err="1"/>
              <a:t>rögzítő</a:t>
            </a:r>
            <a:r>
              <a:rPr lang="en-US" sz="1200" dirty="0"/>
              <a:t> </a:t>
            </a:r>
            <a:r>
              <a:rPr lang="en-US" sz="1200" dirty="0" err="1"/>
              <a:t>szerszámmal</a:t>
            </a:r>
            <a:r>
              <a:rPr lang="en-US" sz="1200" dirty="0"/>
              <a:t> </a:t>
            </a:r>
            <a:r>
              <a:rPr lang="en-US" sz="1200" dirty="0" err="1"/>
              <a:t>történő</a:t>
            </a:r>
            <a:r>
              <a:rPr lang="en-US" sz="1200" dirty="0"/>
              <a:t> </a:t>
            </a:r>
            <a:r>
              <a:rPr lang="en-US" sz="1200" dirty="0" err="1"/>
              <a:t>szerelés</a:t>
            </a:r>
            <a:r>
              <a:rPr lang="de-DE" sz="1200" dirty="0"/>
              <a:t>​</a:t>
            </a:r>
            <a:endParaRPr lang="de-DE" sz="1200" b="0" i="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9341996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D851CD86-7E9A-4D0F-84E8-243CD52D3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IAFIT</a:t>
            </a:r>
            <a:r>
              <a:rPr lang="en-US" baseline="30000" dirty="0"/>
              <a:t>®</a:t>
            </a:r>
            <a:r>
              <a:rPr lang="en-US" dirty="0"/>
              <a:t>  FIXBLOC </a:t>
            </a:r>
            <a:r>
              <a:rPr lang="hu-HU" dirty="0"/>
              <a:t>mérettartomány </a:t>
            </a:r>
            <a:r>
              <a:rPr lang="en-US" dirty="0"/>
              <a:t>of d</a:t>
            </a:r>
            <a:r>
              <a:rPr lang="hu-HU" dirty="0"/>
              <a:t>n</a:t>
            </a:r>
            <a:r>
              <a:rPr lang="en-US" dirty="0"/>
              <a:t> 160 - d</a:t>
            </a:r>
            <a:r>
              <a:rPr lang="hu-HU" dirty="0"/>
              <a:t>n</a:t>
            </a:r>
            <a:r>
              <a:rPr lang="en-US" dirty="0"/>
              <a:t> 1.600</a:t>
            </a:r>
            <a:r>
              <a:rPr lang="en-US" b="0" dirty="0"/>
              <a:t> ​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979604-8507-4193-AFD8-8A7EA2A6B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557FA-6AF7-4FE4-ADB9-06BE2F620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15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A7C609F-1AFB-4B9E-B276-D7A0CA83A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9C8ADFB8-0730-4110-ACC4-A63894D2C72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712" y="922051"/>
            <a:ext cx="3487385" cy="2721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>
            <a:extLst>
              <a:ext uri="{FF2B5EF4-FFF2-40B4-BE49-F238E27FC236}">
                <a16:creationId xmlns:a16="http://schemas.microsoft.com/office/drawing/2014/main" id="{5304AB44-8C12-4C21-84BC-2F0987B14F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071" y="928425"/>
            <a:ext cx="3479217" cy="2715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>
            <a:extLst>
              <a:ext uri="{FF2B5EF4-FFF2-40B4-BE49-F238E27FC236}">
                <a16:creationId xmlns:a16="http://schemas.microsoft.com/office/drawing/2014/main" id="{1C15CD63-6FBC-4947-8E01-D8E5F9151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712" y="3712347"/>
            <a:ext cx="3487385" cy="2613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6" name="Picture 8">
            <a:extLst>
              <a:ext uri="{FF2B5EF4-FFF2-40B4-BE49-F238E27FC236}">
                <a16:creationId xmlns:a16="http://schemas.microsoft.com/office/drawing/2014/main" id="{E7AF7700-F89E-44CC-8B67-30EA50581A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071" y="3712347"/>
            <a:ext cx="3479217" cy="2613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83644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D851CD86-7E9A-4D0F-84E8-243CD52D3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IAFIT</a:t>
            </a:r>
            <a:r>
              <a:rPr lang="en-US" baseline="30000" dirty="0"/>
              <a:t>®</a:t>
            </a:r>
            <a:r>
              <a:rPr lang="en-US" dirty="0"/>
              <a:t>  FIXBLOC </a:t>
            </a:r>
            <a:r>
              <a:rPr lang="hu-HU" dirty="0"/>
              <a:t>mérettartomány </a:t>
            </a:r>
            <a:r>
              <a:rPr lang="en-US" dirty="0"/>
              <a:t>d</a:t>
            </a:r>
            <a:r>
              <a:rPr lang="hu-HU" dirty="0"/>
              <a:t>n</a:t>
            </a:r>
            <a:r>
              <a:rPr lang="en-US" dirty="0"/>
              <a:t> 160 - d</a:t>
            </a:r>
            <a:r>
              <a:rPr lang="hu-HU" dirty="0"/>
              <a:t>n</a:t>
            </a:r>
            <a:r>
              <a:rPr lang="en-US" dirty="0"/>
              <a:t> 1.600</a:t>
            </a:r>
            <a:r>
              <a:rPr lang="en-US" b="0" dirty="0"/>
              <a:t> ​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979604-8507-4193-AFD8-8A7EA2A6B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557FA-6AF7-4FE4-ADB9-06BE2F620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16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A7C609F-1AFB-4B9E-B276-D7A0CA83A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7969BFF-81FC-B0F7-D001-C82F2160F8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550" y="702754"/>
            <a:ext cx="6282048" cy="5939246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143FB65-949B-5B90-DBB7-0005B6350E66}"/>
              </a:ext>
            </a:extLst>
          </p:cNvPr>
          <p:cNvSpPr/>
          <p:nvPr/>
        </p:nvSpPr>
        <p:spPr>
          <a:xfrm>
            <a:off x="6061164" y="649192"/>
            <a:ext cx="914400" cy="348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98053E7-9026-42E1-D9D5-E84A9B39D9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5085" y="671247"/>
            <a:ext cx="4538972" cy="6024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1379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42FB5EBF-6786-45C5-AA0B-DD2BA03559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476000"/>
            <a:ext cx="4140577" cy="748726"/>
          </a:xfrm>
        </p:spPr>
        <p:txBody>
          <a:bodyPr/>
          <a:lstStyle/>
          <a:p>
            <a:pPr marL="0" indent="0">
              <a:buNone/>
            </a:pPr>
            <a:r>
              <a:rPr lang="hu-HU" b="1" dirty="0"/>
              <a:t>Előírásszerű rögzítés esetén kiváló hegesztési minőség</a:t>
            </a:r>
            <a:endParaRPr lang="de-DE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979604-8507-4193-AFD8-8A7EA2A6B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557FA-6AF7-4FE4-ADB9-06BE2F620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17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A7C609F-1AFB-4B9E-B276-D7A0CA83A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ED8D1D7E-9EA3-4D45-A54F-9DA515D4BA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9351" y="1327392"/>
            <a:ext cx="5790840" cy="4980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586AD55B-3618-49B2-922A-656EDCD3D272}"/>
              </a:ext>
            </a:extLst>
          </p:cNvPr>
          <p:cNvSpPr txBox="1"/>
          <p:nvPr/>
        </p:nvSpPr>
        <p:spPr>
          <a:xfrm>
            <a:off x="468000" y="5353084"/>
            <a:ext cx="41405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hu-HU" sz="1400" dirty="0"/>
              <a:t>A kompakt kialakítás és a nagy hegesztési zóna miatt magas húzási és rögzítő erő 40 </a:t>
            </a:r>
            <a:r>
              <a:rPr lang="hu-HU" sz="1400" dirty="0" err="1"/>
              <a:t>kN-ig</a:t>
            </a:r>
            <a:endParaRPr lang="hu-HU" sz="1400" dirty="0"/>
          </a:p>
          <a:p>
            <a:pPr fontAlgn="base"/>
            <a:r>
              <a:rPr lang="de-DE" sz="1400" dirty="0"/>
              <a:t>​</a:t>
            </a:r>
          </a:p>
        </p:txBody>
      </p:sp>
      <p:sp>
        <p:nvSpPr>
          <p:cNvPr id="7" name="Titel 10">
            <a:extLst>
              <a:ext uri="{FF2B5EF4-FFF2-40B4-BE49-F238E27FC236}">
                <a16:creationId xmlns:a16="http://schemas.microsoft.com/office/drawing/2014/main" id="{A0E31853-DFFF-8BF5-FC36-E1309AFB25A5}"/>
              </a:ext>
            </a:extLst>
          </p:cNvPr>
          <p:cNvSpPr txBox="1">
            <a:spLocks/>
          </p:cNvSpPr>
          <p:nvPr/>
        </p:nvSpPr>
        <p:spPr>
          <a:xfrm>
            <a:off x="467400" y="221165"/>
            <a:ext cx="11257200" cy="9507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RIAFIT</a:t>
            </a:r>
            <a:r>
              <a:rPr lang="en-US" baseline="30000" dirty="0"/>
              <a:t>®</a:t>
            </a:r>
            <a:r>
              <a:rPr lang="en-US" dirty="0"/>
              <a:t>  FIXBLOC </a:t>
            </a:r>
            <a:r>
              <a:rPr lang="hu-HU" dirty="0"/>
              <a:t>mérettartomány </a:t>
            </a:r>
            <a:r>
              <a:rPr lang="en-US" dirty="0"/>
              <a:t>d</a:t>
            </a:r>
            <a:r>
              <a:rPr lang="hu-HU" dirty="0"/>
              <a:t>n</a:t>
            </a:r>
            <a:r>
              <a:rPr lang="en-US" dirty="0"/>
              <a:t> 160 - d</a:t>
            </a:r>
            <a:r>
              <a:rPr lang="hu-HU" dirty="0"/>
              <a:t>n</a:t>
            </a:r>
            <a:r>
              <a:rPr lang="en-US" dirty="0"/>
              <a:t> 1.600</a:t>
            </a:r>
            <a:r>
              <a:rPr lang="en-US" b="0" dirty="0"/>
              <a:t> 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23780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A87E56F-86A7-46D0-916B-03A1E8AE0D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A87E56F-86A7-46D0-916B-03A1E8AE0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0A3F22-D9F3-4703-9FF1-E25B3F27B3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4074" y="2667793"/>
            <a:ext cx="4423819" cy="2013264"/>
          </a:xfrm>
        </p:spPr>
        <p:txBody>
          <a:bodyPr/>
          <a:lstStyle/>
          <a:p>
            <a:r>
              <a:rPr lang="de-DE" dirty="0"/>
              <a:t>Close-Fit Liner</a:t>
            </a:r>
            <a:br>
              <a:rPr lang="de-DE" dirty="0"/>
            </a:br>
            <a:endParaRPr lang="de-DE" sz="2800" b="0" dirty="0"/>
          </a:p>
          <a:p>
            <a:r>
              <a:rPr lang="de-DE" sz="2800" b="0" dirty="0"/>
              <a:t>DAA / DAV RED SNAP </a:t>
            </a:r>
          </a:p>
          <a:p>
            <a:r>
              <a:rPr lang="hu-HU" sz="2800" b="0" dirty="0"/>
              <a:t>Házi bekötések FRIATOP szerszámmal történő kivitelezése</a:t>
            </a:r>
            <a:endParaRPr lang="de-DE" sz="2800" b="0" dirty="0"/>
          </a:p>
        </p:txBody>
      </p:sp>
      <p:pic>
        <p:nvPicPr>
          <p:cNvPr id="6" name="Bildplatzhalter 5" descr="Ein Bild, das drinnen, Tisch, Schreibtisch, Büro enthält.&#10;&#10;Automatisch generierte Beschreibung">
            <a:extLst>
              <a:ext uri="{FF2B5EF4-FFF2-40B4-BE49-F238E27FC236}">
                <a16:creationId xmlns:a16="http://schemas.microsoft.com/office/drawing/2014/main" id="{7214173D-FEE3-B177-33B8-CE1A268603D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89" b="2948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13990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Person, draußen, Junge, Schaufel enthält.&#10;&#10;Automatisch generierte Beschreibung">
            <a:extLst>
              <a:ext uri="{FF2B5EF4-FFF2-40B4-BE49-F238E27FC236}">
                <a16:creationId xmlns:a16="http://schemas.microsoft.com/office/drawing/2014/main" id="{DB94540B-B8EC-40D3-9EF2-3E1A8EE532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36" b="6200"/>
          <a:stretch/>
        </p:blipFill>
        <p:spPr>
          <a:xfrm>
            <a:off x="-6" y="1"/>
            <a:ext cx="12192006" cy="6858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2A4C99DB-2819-4AE8-B8F6-4D2F2D3F85B5}"/>
              </a:ext>
            </a:extLst>
          </p:cNvPr>
          <p:cNvSpPr/>
          <p:nvPr/>
        </p:nvSpPr>
        <p:spPr>
          <a:xfrm>
            <a:off x="-6" y="0"/>
            <a:ext cx="12192006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B25643-E34E-44EC-A048-E1472D404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solidFill>
                  <a:schemeClr val="accent1"/>
                </a:solidFill>
              </a:rPr>
              <a:t>Nyomás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alatti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leágazások</a:t>
            </a:r>
            <a:r>
              <a:rPr lang="hu-HU" dirty="0">
                <a:solidFill>
                  <a:schemeClr val="accent1"/>
                </a:solidFill>
              </a:rPr>
              <a:t>,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megoldások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DAA – </a:t>
            </a:r>
            <a:r>
              <a:rPr lang="hu-HU" dirty="0">
                <a:solidFill>
                  <a:schemeClr val="bg1"/>
                </a:solidFill>
              </a:rPr>
              <a:t>nyomás alatti </a:t>
            </a:r>
            <a:r>
              <a:rPr lang="hu-HU" dirty="0" err="1">
                <a:solidFill>
                  <a:schemeClr val="bg1"/>
                </a:solidFill>
              </a:rPr>
              <a:t>megfúróidom</a:t>
            </a:r>
            <a:r>
              <a:rPr lang="hu-HU" dirty="0">
                <a:solidFill>
                  <a:schemeClr val="bg1"/>
                </a:solidFill>
              </a:rPr>
              <a:t> </a:t>
            </a:r>
            <a:r>
              <a:rPr lang="en-GB" dirty="0">
                <a:solidFill>
                  <a:schemeClr val="bg1"/>
                </a:solidFill>
              </a:rPr>
              <a:t>&amp; DAV – </a:t>
            </a:r>
            <a:r>
              <a:rPr lang="hu-HU" dirty="0">
                <a:solidFill>
                  <a:schemeClr val="bg1"/>
                </a:solidFill>
              </a:rPr>
              <a:t>nyomás alatti </a:t>
            </a:r>
            <a:r>
              <a:rPr lang="hu-HU" dirty="0" err="1">
                <a:solidFill>
                  <a:schemeClr val="bg1"/>
                </a:solidFill>
              </a:rPr>
              <a:t>megfúrószelep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A4EAF5-C49F-4B3A-A162-D7F8C32E9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43FE285A-1B7E-4170-BE8E-8FFBE3F5BDDF}"/>
              </a:ext>
            </a:extLst>
          </p:cNvPr>
          <p:cNvSpPr/>
          <p:nvPr/>
        </p:nvSpPr>
        <p:spPr>
          <a:xfrm>
            <a:off x="1804070" y="1524466"/>
            <a:ext cx="3420000" cy="3420000"/>
          </a:xfrm>
          <a:prstGeom prst="ellipse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0FC2FCCC-A5B8-4C24-8136-E1A28876DC79}"/>
              </a:ext>
            </a:extLst>
          </p:cNvPr>
          <p:cNvSpPr/>
          <p:nvPr/>
        </p:nvSpPr>
        <p:spPr>
          <a:xfrm>
            <a:off x="7901339" y="1524466"/>
            <a:ext cx="3420000" cy="3420000"/>
          </a:xfrm>
          <a:prstGeom prst="ellipse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2" name="Grafik 11" descr="Ein Bild, das drinnen, rot, Leder enthält.&#10;&#10;Automatisch generierte Beschreibung">
            <a:extLst>
              <a:ext uri="{FF2B5EF4-FFF2-40B4-BE49-F238E27FC236}">
                <a16:creationId xmlns:a16="http://schemas.microsoft.com/office/drawing/2014/main" id="{9C0E834D-DDBE-42ED-8CE8-CB5F9849BDA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13" t="1804" r="1213" b="24618"/>
          <a:stretch/>
        </p:blipFill>
        <p:spPr>
          <a:xfrm>
            <a:off x="7987739" y="1610985"/>
            <a:ext cx="3247200" cy="3247200"/>
          </a:xfrm>
          <a:prstGeom prst="flowChartConnector">
            <a:avLst/>
          </a:prstGeom>
        </p:spPr>
      </p:pic>
      <p:pic>
        <p:nvPicPr>
          <p:cNvPr id="14" name="Grafik 13" descr="Ein Bild, das Leder enthält.&#10;&#10;Automatisch generierte Beschreibung">
            <a:extLst>
              <a:ext uri="{FF2B5EF4-FFF2-40B4-BE49-F238E27FC236}">
                <a16:creationId xmlns:a16="http://schemas.microsoft.com/office/drawing/2014/main" id="{458C26B4-EFE7-4CA3-A498-89A20E1C8B3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6" r="1686"/>
          <a:stretch/>
        </p:blipFill>
        <p:spPr>
          <a:xfrm>
            <a:off x="1872301" y="1592697"/>
            <a:ext cx="3283538" cy="3283538"/>
          </a:xfrm>
          <a:prstGeom prst="flowChartConnector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3C1058-08D1-0AA3-84B5-3E0AFE26A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3390F0D-69D1-F442-6BA6-BDDADEA88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6516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A7C609F-1AFB-4B9E-B276-D7A0CA83A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D851CD86-7E9A-4D0F-84E8-243CD52D3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űszaki</a:t>
            </a:r>
            <a:r>
              <a:rPr lang="de-DE" dirty="0"/>
              <a:t> T</a:t>
            </a:r>
            <a:r>
              <a:rPr lang="hu-HU" dirty="0"/>
              <a:t>anácsadó</a:t>
            </a:r>
            <a:r>
              <a:rPr lang="de-DE" dirty="0"/>
              <a:t> 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42FB5EBF-6786-45C5-AA0B-DD2BA03559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550" y="691392"/>
            <a:ext cx="7064017" cy="5777537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>
                <a:solidFill>
                  <a:schemeClr val="accent1"/>
                </a:solidFill>
              </a:rPr>
              <a:t>Rainer Mueller – </a:t>
            </a:r>
            <a:r>
              <a:rPr lang="en-GB" sz="2000" b="1" dirty="0" err="1">
                <a:solidFill>
                  <a:schemeClr val="accent1"/>
                </a:solidFill>
              </a:rPr>
              <a:t>Szenior</a:t>
            </a:r>
            <a:r>
              <a:rPr lang="en-GB" sz="2000" b="1" dirty="0">
                <a:solidFill>
                  <a:schemeClr val="accent1"/>
                </a:solidFill>
              </a:rPr>
              <a:t> </a:t>
            </a:r>
            <a:r>
              <a:rPr lang="en-GB" sz="2000" b="1" dirty="0" err="1">
                <a:solidFill>
                  <a:schemeClr val="accent1"/>
                </a:solidFill>
              </a:rPr>
              <a:t>felhasználást</a:t>
            </a:r>
            <a:r>
              <a:rPr lang="en-GB" sz="2000" b="1" dirty="0">
                <a:solidFill>
                  <a:schemeClr val="accent1"/>
                </a:solidFill>
              </a:rPr>
              <a:t> </a:t>
            </a:r>
            <a:r>
              <a:rPr lang="en-GB" sz="2000" b="1" dirty="0" err="1">
                <a:solidFill>
                  <a:schemeClr val="accent1"/>
                </a:solidFill>
              </a:rPr>
              <a:t>támogató</a:t>
            </a:r>
            <a:r>
              <a:rPr lang="en-GB" sz="2000" b="1" dirty="0">
                <a:solidFill>
                  <a:schemeClr val="accent1"/>
                </a:solidFill>
              </a:rPr>
              <a:t> </a:t>
            </a:r>
            <a:r>
              <a:rPr lang="en-GB" sz="2000" b="1" dirty="0" err="1">
                <a:solidFill>
                  <a:schemeClr val="accent1"/>
                </a:solidFill>
              </a:rPr>
              <a:t>mérnök</a:t>
            </a:r>
            <a:endParaRPr lang="hu-HU" sz="2000" b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hu-HU" sz="2000" b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de-DE" b="1" dirty="0">
                <a:solidFill>
                  <a:srgbClr val="7E7E7E"/>
                </a:solidFill>
              </a:rPr>
              <a:t>1979-1983</a:t>
            </a:r>
            <a:r>
              <a:rPr lang="de-DE" dirty="0">
                <a:solidFill>
                  <a:srgbClr val="7E7E7E"/>
                </a:solidFill>
              </a:rPr>
              <a:t>​</a:t>
            </a:r>
            <a:br>
              <a:rPr lang="de-DE" dirty="0">
                <a:solidFill>
                  <a:srgbClr val="7E7E7E"/>
                </a:solidFill>
              </a:rPr>
            </a:br>
            <a:r>
              <a:rPr lang="hu-HU" dirty="0">
                <a:solidFill>
                  <a:srgbClr val="7E7E7E"/>
                </a:solidFill>
              </a:rPr>
              <a:t>műszaki gyakornok </a:t>
            </a:r>
            <a:r>
              <a:rPr lang="de-DE" dirty="0">
                <a:solidFill>
                  <a:srgbClr val="7E7E7E"/>
                </a:solidFill>
              </a:rPr>
              <a:t>a FRIATEC</a:t>
            </a:r>
            <a:r>
              <a:rPr lang="hu-HU" dirty="0">
                <a:solidFill>
                  <a:srgbClr val="7E7E7E"/>
                </a:solidFill>
              </a:rPr>
              <a:t>-nél</a:t>
            </a:r>
            <a:r>
              <a:rPr lang="de-DE" dirty="0">
                <a:solidFill>
                  <a:srgbClr val="7E7E7E"/>
                </a:solidFill>
              </a:rPr>
              <a:t> / </a:t>
            </a:r>
            <a:r>
              <a:rPr lang="de-DE" dirty="0" err="1">
                <a:solidFill>
                  <a:srgbClr val="7E7E7E"/>
                </a:solidFill>
              </a:rPr>
              <a:t>Aliaxis</a:t>
            </a:r>
            <a:r>
              <a:rPr lang="hu-HU" dirty="0">
                <a:solidFill>
                  <a:srgbClr val="7E7E7E"/>
                </a:solidFill>
              </a:rPr>
              <a:t>-</a:t>
            </a:r>
            <a:r>
              <a:rPr lang="hu-HU" dirty="0" err="1">
                <a:solidFill>
                  <a:srgbClr val="7E7E7E"/>
                </a:solidFill>
              </a:rPr>
              <a:t>nál</a:t>
            </a:r>
            <a:r>
              <a:rPr lang="hu-HU" dirty="0">
                <a:solidFill>
                  <a:srgbClr val="7E7E7E"/>
                </a:solidFill>
              </a:rPr>
              <a:t> </a:t>
            </a:r>
            <a:r>
              <a:rPr lang="de-DE" dirty="0" err="1">
                <a:solidFill>
                  <a:srgbClr val="7E7E7E"/>
                </a:solidFill>
              </a:rPr>
              <a:t>szerszámkészítő</a:t>
            </a:r>
            <a:r>
              <a:rPr lang="hu-HU" dirty="0">
                <a:solidFill>
                  <a:srgbClr val="7E7E7E"/>
                </a:solidFill>
              </a:rPr>
              <a:t>i oktatás</a:t>
            </a:r>
          </a:p>
          <a:p>
            <a:pPr marL="0" indent="0">
              <a:buNone/>
            </a:pPr>
            <a:r>
              <a:rPr lang="de-DE" b="1" dirty="0">
                <a:solidFill>
                  <a:srgbClr val="7E7E7E"/>
                </a:solidFill>
              </a:rPr>
              <a:t>1983-1993</a:t>
            </a:r>
            <a:r>
              <a:rPr lang="en-US" dirty="0">
                <a:solidFill>
                  <a:srgbClr val="7E7E7E"/>
                </a:solidFill>
              </a:rPr>
              <a:t>​</a:t>
            </a:r>
            <a:br>
              <a:rPr lang="en-US" dirty="0">
                <a:solidFill>
                  <a:srgbClr val="7E7E7E"/>
                </a:solidFill>
              </a:rPr>
            </a:br>
            <a:r>
              <a:rPr lang="hu-HU" dirty="0" err="1">
                <a:solidFill>
                  <a:srgbClr val="7E7E7E"/>
                </a:solidFill>
              </a:rPr>
              <a:t>Minőségmendezsment</a:t>
            </a:r>
            <a:r>
              <a:rPr lang="hu-HU" dirty="0">
                <a:solidFill>
                  <a:srgbClr val="7E7E7E"/>
                </a:solidFill>
              </a:rPr>
              <a:t> részleg,</a:t>
            </a:r>
          </a:p>
          <a:p>
            <a:pPr marL="0" indent="0">
              <a:buNone/>
            </a:pPr>
            <a:r>
              <a:rPr lang="hu-HU" dirty="0">
                <a:solidFill>
                  <a:srgbClr val="7E7E7E"/>
                </a:solidFill>
              </a:rPr>
              <a:t> - </a:t>
            </a:r>
            <a:r>
              <a:rPr lang="de-DE" dirty="0">
                <a:solidFill>
                  <a:srgbClr val="7E7E7E"/>
                </a:solidFill>
              </a:rPr>
              <a:t>FRIATEC </a:t>
            </a:r>
            <a:r>
              <a:rPr lang="de-DE" dirty="0" err="1">
                <a:solidFill>
                  <a:srgbClr val="7E7E7E"/>
                </a:solidFill>
              </a:rPr>
              <a:t>kötések</a:t>
            </a:r>
            <a:r>
              <a:rPr lang="de-DE" dirty="0">
                <a:solidFill>
                  <a:srgbClr val="7E7E7E"/>
                </a:solidFill>
              </a:rPr>
              <a:t> </a:t>
            </a:r>
            <a:r>
              <a:rPr lang="de-DE" dirty="0" err="1">
                <a:solidFill>
                  <a:srgbClr val="7E7E7E"/>
                </a:solidFill>
              </a:rPr>
              <a:t>fejlesztési</a:t>
            </a:r>
            <a:r>
              <a:rPr lang="de-DE" dirty="0">
                <a:solidFill>
                  <a:srgbClr val="7E7E7E"/>
                </a:solidFill>
              </a:rPr>
              <a:t> </a:t>
            </a:r>
            <a:r>
              <a:rPr lang="de-DE" dirty="0" err="1">
                <a:solidFill>
                  <a:srgbClr val="7E7E7E"/>
                </a:solidFill>
              </a:rPr>
              <a:t>vizsgálatai</a:t>
            </a:r>
            <a:r>
              <a:rPr lang="de-DE" dirty="0">
                <a:solidFill>
                  <a:srgbClr val="7E7E7E"/>
                </a:solidFill>
              </a:rPr>
              <a:t>,</a:t>
            </a:r>
            <a:r>
              <a:rPr lang="en-US" dirty="0">
                <a:solidFill>
                  <a:srgbClr val="7E7E7E"/>
                </a:solidFill>
              </a:rPr>
              <a:t>​</a:t>
            </a:r>
          </a:p>
          <a:p>
            <a:pPr fontAlgn="base"/>
            <a:r>
              <a:rPr lang="hu-HU" dirty="0">
                <a:solidFill>
                  <a:srgbClr val="7E7E7E"/>
                </a:solidFill>
              </a:rPr>
              <a:t>Reklamációs részleg, </a:t>
            </a:r>
            <a:endParaRPr lang="en-US" dirty="0">
              <a:solidFill>
                <a:srgbClr val="7E7E7E"/>
              </a:solidFill>
            </a:endParaRPr>
          </a:p>
          <a:p>
            <a:pPr fontAlgn="base"/>
            <a:r>
              <a:rPr lang="hu-HU" dirty="0">
                <a:solidFill>
                  <a:srgbClr val="7E7E7E"/>
                </a:solidFill>
              </a:rPr>
              <a:t>Minőségirányítási rendszer kialakítása</a:t>
            </a:r>
            <a:br>
              <a:rPr lang="de-DE" dirty="0">
                <a:solidFill>
                  <a:srgbClr val="7E7E7E"/>
                </a:solidFill>
              </a:rPr>
            </a:br>
            <a:r>
              <a:rPr lang="hu-HU" dirty="0">
                <a:solidFill>
                  <a:srgbClr val="7E7E7E"/>
                </a:solidFill>
              </a:rPr>
              <a:t>Eközben</a:t>
            </a:r>
            <a:r>
              <a:rPr lang="de-DE" dirty="0">
                <a:solidFill>
                  <a:srgbClr val="7E7E7E"/>
                </a:solidFill>
              </a:rPr>
              <a:t> 1990-1994 </a:t>
            </a:r>
            <a:r>
              <a:rPr lang="hu-HU" dirty="0">
                <a:solidFill>
                  <a:srgbClr val="7E7E7E"/>
                </a:solidFill>
              </a:rPr>
              <a:t>Műanyagipari mérnöki tanulmányok</a:t>
            </a:r>
            <a:r>
              <a:rPr lang="de-DE" dirty="0">
                <a:solidFill>
                  <a:srgbClr val="7E7E7E"/>
                </a:solidFill>
              </a:rPr>
              <a:t>​</a:t>
            </a:r>
          </a:p>
          <a:p>
            <a:pPr marL="0" indent="0" fontAlgn="base">
              <a:buNone/>
            </a:pPr>
            <a:r>
              <a:rPr lang="hu-HU" b="1" dirty="0">
                <a:solidFill>
                  <a:srgbClr val="7E7E7E"/>
                </a:solidFill>
              </a:rPr>
              <a:t>1994 óta</a:t>
            </a:r>
            <a:r>
              <a:rPr lang="de-DE" b="1" dirty="0">
                <a:solidFill>
                  <a:srgbClr val="7E7E7E"/>
                </a:solidFill>
              </a:rPr>
              <a:t>,</a:t>
            </a:r>
            <a:r>
              <a:rPr lang="en-US" dirty="0">
                <a:solidFill>
                  <a:srgbClr val="7E7E7E"/>
                </a:solidFill>
              </a:rPr>
              <a:t>​</a:t>
            </a:r>
            <a:br>
              <a:rPr lang="en-US" dirty="0">
                <a:solidFill>
                  <a:srgbClr val="7E7E7E"/>
                </a:solidFill>
              </a:rPr>
            </a:br>
            <a:r>
              <a:rPr lang="de-DE" dirty="0">
                <a:solidFill>
                  <a:srgbClr val="7E7E7E"/>
                </a:solidFill>
              </a:rPr>
              <a:t>FRIATEC </a:t>
            </a:r>
            <a:r>
              <a:rPr lang="de-DE" dirty="0" err="1">
                <a:solidFill>
                  <a:srgbClr val="7E7E7E"/>
                </a:solidFill>
              </a:rPr>
              <a:t>felhasználástechnikai</a:t>
            </a:r>
            <a:r>
              <a:rPr lang="de-DE" dirty="0">
                <a:solidFill>
                  <a:srgbClr val="7E7E7E"/>
                </a:solidFill>
              </a:rPr>
              <a:t> </a:t>
            </a:r>
            <a:r>
              <a:rPr lang="de-DE" dirty="0" err="1">
                <a:solidFill>
                  <a:srgbClr val="7E7E7E"/>
                </a:solidFill>
              </a:rPr>
              <a:t>mérnök</a:t>
            </a:r>
            <a:r>
              <a:rPr lang="de-DE" dirty="0">
                <a:solidFill>
                  <a:srgbClr val="7E7E7E"/>
                </a:solidFill>
              </a:rPr>
              <a:t> , DVGW </a:t>
            </a:r>
            <a:r>
              <a:rPr lang="hu-HU" dirty="0">
                <a:solidFill>
                  <a:srgbClr val="7E7E7E"/>
                </a:solidFill>
              </a:rPr>
              <a:t>bizonyítvánnyal</a:t>
            </a:r>
            <a:r>
              <a:rPr lang="de-DE" dirty="0">
                <a:solidFill>
                  <a:srgbClr val="7E7E7E"/>
                </a:solidFill>
              </a:rPr>
              <a:t>l PE-</a:t>
            </a:r>
            <a:r>
              <a:rPr lang="de-DE" dirty="0" err="1">
                <a:solidFill>
                  <a:srgbClr val="7E7E7E"/>
                </a:solidFill>
              </a:rPr>
              <a:t>hegeszt</a:t>
            </a:r>
            <a:r>
              <a:rPr lang="hu-HU" dirty="0" err="1">
                <a:solidFill>
                  <a:srgbClr val="7E7E7E"/>
                </a:solidFill>
              </a:rPr>
              <a:t>ési</a:t>
            </a:r>
            <a:r>
              <a:rPr lang="hu-HU" dirty="0">
                <a:solidFill>
                  <a:srgbClr val="7E7E7E"/>
                </a:solidFill>
              </a:rPr>
              <a:t> vizsgával</a:t>
            </a:r>
            <a:r>
              <a:rPr lang="de-DE" dirty="0">
                <a:solidFill>
                  <a:srgbClr val="7E7E7E"/>
                </a:solidFill>
              </a:rPr>
              <a:t>, </a:t>
            </a:r>
            <a:r>
              <a:rPr lang="hu-HU" dirty="0">
                <a:solidFill>
                  <a:srgbClr val="7E7E7E"/>
                </a:solidFill>
              </a:rPr>
              <a:t>vezetői engedéllyel</a:t>
            </a:r>
          </a:p>
          <a:p>
            <a:pPr marL="0" indent="0" fontAlgn="base">
              <a:buNone/>
            </a:pPr>
            <a:r>
              <a:rPr lang="hu-HU" dirty="0">
                <a:solidFill>
                  <a:srgbClr val="7E7E7E"/>
                </a:solidFill>
              </a:rPr>
              <a:t>- Workshopok ügyfelek részére</a:t>
            </a:r>
            <a:r>
              <a:rPr lang="de-DE" dirty="0">
                <a:solidFill>
                  <a:srgbClr val="7E7E7E"/>
                </a:solidFill>
              </a:rPr>
              <a:t>, </a:t>
            </a:r>
            <a:r>
              <a:rPr lang="hu-HU" dirty="0">
                <a:solidFill>
                  <a:srgbClr val="7E7E7E"/>
                </a:solidFill>
              </a:rPr>
              <a:t>Előadások </a:t>
            </a:r>
            <a:r>
              <a:rPr lang="hu-HU" dirty="0" err="1">
                <a:solidFill>
                  <a:srgbClr val="7E7E7E"/>
                </a:solidFill>
              </a:rPr>
              <a:t>világszerta</a:t>
            </a:r>
            <a:endParaRPr lang="de-DE" dirty="0">
              <a:solidFill>
                <a:srgbClr val="7E7E7E"/>
              </a:solidFill>
            </a:endParaRPr>
          </a:p>
          <a:p>
            <a:pPr fontAlgn="base"/>
            <a:r>
              <a:rPr lang="hu-HU" dirty="0">
                <a:solidFill>
                  <a:srgbClr val="7E7E7E"/>
                </a:solidFill>
              </a:rPr>
              <a:t>Munkaterületi bemutatók</a:t>
            </a:r>
            <a:endParaRPr lang="de-DE" dirty="0">
              <a:solidFill>
                <a:srgbClr val="7E7E7E"/>
              </a:solidFill>
            </a:endParaRPr>
          </a:p>
          <a:p>
            <a:pPr fontAlgn="base"/>
            <a:r>
              <a:rPr lang="hu-HU" dirty="0">
                <a:solidFill>
                  <a:srgbClr val="7E7E7E"/>
                </a:solidFill>
              </a:rPr>
              <a:t>Projekt támogatás</a:t>
            </a:r>
            <a:br>
              <a:rPr lang="de-DE" dirty="0"/>
            </a:br>
            <a:r>
              <a:rPr lang="de-DE" dirty="0"/>
              <a:t>​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2735B2-1C8E-E376-3F85-92B2299B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C41728-0467-218D-6CFE-9FE3C8CE4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2</a:t>
            </a:fld>
            <a:endParaRPr lang="en-GB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0848B66-5722-6CB4-985D-26FE233984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7053" y="-1"/>
            <a:ext cx="4084948" cy="680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7200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FB9BE8-8F84-4B0A-A257-6FD275A6E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20</a:t>
            </a:fld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97347C-E0F9-4526-966D-18D5E3E69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solidFill>
                  <a:schemeClr val="accent1"/>
                </a:solidFill>
              </a:rPr>
              <a:t>Házi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bekötések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létesítése</a:t>
            </a:r>
            <a:r>
              <a:rPr lang="en-GB" dirty="0">
                <a:solidFill>
                  <a:schemeClr val="accent1"/>
                </a:solidFill>
              </a:rPr>
              <a:t> Top-Loading </a:t>
            </a:r>
            <a:r>
              <a:rPr lang="en-GB" dirty="0" err="1">
                <a:solidFill>
                  <a:schemeClr val="accent1"/>
                </a:solidFill>
              </a:rPr>
              <a:t>idommal</a:t>
            </a:r>
            <a:r>
              <a:rPr lang="en-GB" dirty="0">
                <a:solidFill>
                  <a:schemeClr val="accent1"/>
                </a:solidFill>
              </a:rPr>
              <a:t> Close-Fit </a:t>
            </a:r>
            <a:r>
              <a:rPr lang="en-GB" dirty="0" err="1">
                <a:solidFill>
                  <a:schemeClr val="accent1"/>
                </a:solidFill>
              </a:rPr>
              <a:t>csővezetékekre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A2F9B926-1BB7-4EA5-A569-E22BDE336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328" y="6510875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44D4658-F759-3058-5E12-58C523142B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592" y="1706010"/>
            <a:ext cx="2151432" cy="2288466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2D29E7E7-8564-8629-C82F-9C944EA630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592" y="4286759"/>
            <a:ext cx="2009508" cy="222411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99DF58B-A54F-37AE-2C5C-459E154ECB9D}"/>
              </a:ext>
            </a:extLst>
          </p:cNvPr>
          <p:cNvSpPr txBox="1"/>
          <p:nvPr/>
        </p:nvSpPr>
        <p:spPr>
          <a:xfrm>
            <a:off x="369592" y="1044396"/>
            <a:ext cx="61113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Arial-BoldMT"/>
              </a:rPr>
              <a:t>DAA </a:t>
            </a:r>
            <a:r>
              <a:rPr lang="en-US" dirty="0" err="1">
                <a:latin typeface="Arial-BoldMT"/>
              </a:rPr>
              <a:t>nyomás</a:t>
            </a:r>
            <a:r>
              <a:rPr lang="en-US" dirty="0">
                <a:latin typeface="Arial-BoldMT"/>
              </a:rPr>
              <a:t> </a:t>
            </a:r>
            <a:r>
              <a:rPr lang="en-US" dirty="0" err="1">
                <a:latin typeface="Arial-BoldMT"/>
              </a:rPr>
              <a:t>alatti</a:t>
            </a:r>
            <a:r>
              <a:rPr lang="en-US" dirty="0">
                <a:latin typeface="Arial-BoldMT"/>
              </a:rPr>
              <a:t> </a:t>
            </a:r>
            <a:r>
              <a:rPr lang="en-US" dirty="0" err="1">
                <a:latin typeface="Arial-BoldMT"/>
              </a:rPr>
              <a:t>megfúróidom</a:t>
            </a:r>
            <a:r>
              <a:rPr lang="en-US" dirty="0">
                <a:latin typeface="Arial-BoldMT"/>
              </a:rPr>
              <a:t> extra </a:t>
            </a:r>
            <a:r>
              <a:rPr lang="en-US" dirty="0" err="1">
                <a:latin typeface="Arial-BoldMT"/>
              </a:rPr>
              <a:t>hosszú</a:t>
            </a:r>
            <a:r>
              <a:rPr lang="en-US" dirty="0">
                <a:latin typeface="Arial-BoldMT"/>
              </a:rPr>
              <a:t> </a:t>
            </a:r>
            <a:r>
              <a:rPr lang="en-US" dirty="0" err="1">
                <a:latin typeface="Arial-BoldMT"/>
              </a:rPr>
              <a:t>leágazó</a:t>
            </a:r>
            <a:r>
              <a:rPr lang="en-US" dirty="0">
                <a:latin typeface="Arial-BoldMT"/>
              </a:rPr>
              <a:t> </a:t>
            </a:r>
            <a:r>
              <a:rPr lang="en-US" dirty="0" err="1">
                <a:latin typeface="Arial-BoldMT"/>
              </a:rPr>
              <a:t>csonkkal</a:t>
            </a:r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3D8D89D-6131-F9B7-43FE-1D4E524831BC}"/>
              </a:ext>
            </a:extLst>
          </p:cNvPr>
          <p:cNvSpPr txBox="1"/>
          <p:nvPr/>
        </p:nvSpPr>
        <p:spPr>
          <a:xfrm>
            <a:off x="235302" y="3999895"/>
            <a:ext cx="73973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Arial-BoldMT"/>
              </a:rPr>
              <a:t>DAV </a:t>
            </a:r>
            <a:r>
              <a:rPr lang="en-US" dirty="0" err="1">
                <a:latin typeface="Arial-BoldMT"/>
              </a:rPr>
              <a:t>nyomás</a:t>
            </a:r>
            <a:r>
              <a:rPr lang="en-US" dirty="0">
                <a:latin typeface="Arial-BoldMT"/>
              </a:rPr>
              <a:t> </a:t>
            </a:r>
            <a:r>
              <a:rPr lang="en-US" dirty="0" err="1">
                <a:latin typeface="Arial-BoldMT"/>
              </a:rPr>
              <a:t>alatti</a:t>
            </a:r>
            <a:r>
              <a:rPr lang="en-US" dirty="0">
                <a:latin typeface="Arial-BoldMT"/>
              </a:rPr>
              <a:t> </a:t>
            </a:r>
            <a:r>
              <a:rPr lang="en-US" dirty="0" err="1">
                <a:latin typeface="Arial-BoldMT"/>
              </a:rPr>
              <a:t>megfúró</a:t>
            </a:r>
            <a:r>
              <a:rPr lang="en-US" dirty="0">
                <a:latin typeface="Arial-BoldMT"/>
              </a:rPr>
              <a:t> </a:t>
            </a:r>
            <a:r>
              <a:rPr lang="en-US" dirty="0" err="1">
                <a:latin typeface="Arial-BoldMT"/>
              </a:rPr>
              <a:t>szelep</a:t>
            </a:r>
            <a:r>
              <a:rPr lang="en-US" dirty="0">
                <a:latin typeface="Arial-BoldMT"/>
              </a:rPr>
              <a:t> extra </a:t>
            </a:r>
            <a:r>
              <a:rPr lang="en-US" dirty="0" err="1">
                <a:latin typeface="Arial-BoldMT"/>
              </a:rPr>
              <a:t>hosszú</a:t>
            </a:r>
            <a:r>
              <a:rPr lang="en-US" dirty="0">
                <a:latin typeface="Arial-BoldMT"/>
              </a:rPr>
              <a:t> </a:t>
            </a:r>
            <a:r>
              <a:rPr lang="en-US" dirty="0" err="1">
                <a:latin typeface="Arial-BoldMT"/>
              </a:rPr>
              <a:t>leágazó</a:t>
            </a:r>
            <a:r>
              <a:rPr lang="en-US" dirty="0">
                <a:latin typeface="Arial-BoldMT"/>
              </a:rPr>
              <a:t> </a:t>
            </a:r>
            <a:r>
              <a:rPr lang="en-US" dirty="0" err="1">
                <a:latin typeface="Arial-BoldMT"/>
              </a:rPr>
              <a:t>csonkkal</a:t>
            </a:r>
            <a:endParaRPr lang="en-US" dirty="0">
              <a:latin typeface="Arial-BoldMT"/>
            </a:endParaRPr>
          </a:p>
          <a:p>
            <a:endParaRPr lang="en-US" dirty="0">
              <a:latin typeface="Arial-BoldMT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A6A6B05-7BF1-2BFE-CBE0-CEE7D75EE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pic>
        <p:nvPicPr>
          <p:cNvPr id="10" name="Picture 1" descr="C:\Users\eckertr\AppData\Local\Microsoft\Windows\Temporary Internet Files\Content.Outlook\9WUNXD4X\20151106_124504.jpg">
            <a:extLst>
              <a:ext uri="{FF2B5EF4-FFF2-40B4-BE49-F238E27FC236}">
                <a16:creationId xmlns:a16="http://schemas.microsoft.com/office/drawing/2014/main" id="{E6E095B2-3C37-6530-A6E4-CAAEB96849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13" t="1610" r="3923" b="3420"/>
          <a:stretch/>
        </p:blipFill>
        <p:spPr bwMode="auto">
          <a:xfrm rot="5400000">
            <a:off x="2803934" y="1863637"/>
            <a:ext cx="2511527" cy="19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F5D6928-1920-A198-5F54-D088551302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2916" y="4485967"/>
            <a:ext cx="1317137" cy="194970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8185AEE-EB03-4D32-6143-C16DDAB7A5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66719" y="1166786"/>
            <a:ext cx="4657283" cy="4997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122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697347C-E0F9-4526-966D-18D5E3E69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en-US" dirty="0"/>
              <a:t>Top </a:t>
            </a:r>
            <a:r>
              <a:rPr lang="en-US" dirty="0" err="1"/>
              <a:t>nyeregidomok</a:t>
            </a:r>
            <a:r>
              <a:rPr lang="en-US" dirty="0"/>
              <a:t>  </a:t>
            </a:r>
            <a:r>
              <a:rPr lang="hu-HU" dirty="0"/>
              <a:t>különböző átmérőkhöz</a:t>
            </a:r>
            <a:br>
              <a:rPr lang="de-DE" dirty="0"/>
            </a:br>
            <a:r>
              <a:rPr lang="de-DE" sz="2000" dirty="0"/>
              <a:t>Top-</a:t>
            </a:r>
            <a:r>
              <a:rPr lang="de-DE" sz="2000" dirty="0" err="1"/>
              <a:t>Loading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9FCAE10-CA2D-445B-958C-B639D6BFF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3BCE84-2D8A-4EF0-B3EE-7D2123E957B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70" y="1476000"/>
            <a:ext cx="5183651" cy="3199898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A </a:t>
            </a:r>
            <a:r>
              <a:rPr lang="de-DE" dirty="0" err="1"/>
              <a:t>nyereg</a:t>
            </a:r>
            <a:r>
              <a:rPr lang="de-DE" dirty="0"/>
              <a:t> </a:t>
            </a:r>
            <a:r>
              <a:rPr lang="de-DE" dirty="0" err="1"/>
              <a:t>rugalmasságának</a:t>
            </a:r>
            <a:r>
              <a:rPr lang="de-DE" dirty="0"/>
              <a:t> </a:t>
            </a:r>
            <a:r>
              <a:rPr lang="de-DE" dirty="0" err="1"/>
              <a:t>köszönhetően</a:t>
            </a:r>
            <a:r>
              <a:rPr lang="de-DE" dirty="0"/>
              <a:t> a </a:t>
            </a:r>
            <a:r>
              <a:rPr lang="de-DE" dirty="0" err="1"/>
              <a:t>különböző</a:t>
            </a:r>
            <a:r>
              <a:rPr lang="de-DE" dirty="0"/>
              <a:t> </a:t>
            </a:r>
            <a:r>
              <a:rPr lang="de-DE" dirty="0" err="1"/>
              <a:t>csőméretek</a:t>
            </a:r>
            <a:r>
              <a:rPr lang="de-DE" dirty="0"/>
              <a:t> </a:t>
            </a:r>
            <a:r>
              <a:rPr lang="de-DE" dirty="0" err="1"/>
              <a:t>egyetlen</a:t>
            </a:r>
            <a:r>
              <a:rPr lang="de-DE" dirty="0"/>
              <a:t> </a:t>
            </a:r>
            <a:r>
              <a:rPr lang="de-DE" dirty="0" err="1"/>
              <a:t>nyereggel</a:t>
            </a:r>
            <a:r>
              <a:rPr lang="de-DE" dirty="0"/>
              <a:t> </a:t>
            </a:r>
            <a:r>
              <a:rPr lang="de-DE" dirty="0" err="1"/>
              <a:t>lefedhetők</a:t>
            </a:r>
            <a:r>
              <a:rPr lang="de-DE" dirty="0"/>
              <a:t>.</a:t>
            </a:r>
          </a:p>
          <a:p>
            <a:pPr marL="0" indent="0">
              <a:buNone/>
            </a:pPr>
            <a:r>
              <a:rPr lang="de-DE" dirty="0" err="1"/>
              <a:t>Különösen</a:t>
            </a:r>
            <a:r>
              <a:rPr lang="de-DE" dirty="0"/>
              <a:t> </a:t>
            </a:r>
            <a:r>
              <a:rPr lang="de-DE" dirty="0" err="1"/>
              <a:t>tágított</a:t>
            </a:r>
            <a:r>
              <a:rPr lang="de-DE" dirty="0"/>
              <a:t> </a:t>
            </a:r>
            <a:r>
              <a:rPr lang="de-DE" dirty="0" err="1"/>
              <a:t>csövek</a:t>
            </a:r>
            <a:r>
              <a:rPr lang="de-DE" dirty="0"/>
              <a:t> </a:t>
            </a:r>
            <a:r>
              <a:rPr lang="de-DE" dirty="0" err="1"/>
              <a:t>vagy</a:t>
            </a:r>
            <a:r>
              <a:rPr lang="de-DE" dirty="0"/>
              <a:t> </a:t>
            </a:r>
            <a:r>
              <a:rPr lang="de-DE" dirty="0" err="1"/>
              <a:t>újrabélelési</a:t>
            </a:r>
            <a:r>
              <a:rPr lang="de-DE" dirty="0"/>
              <a:t> </a:t>
            </a:r>
            <a:r>
              <a:rPr lang="de-DE" dirty="0" err="1"/>
              <a:t>eljárások</a:t>
            </a:r>
            <a:r>
              <a:rPr lang="de-DE" dirty="0"/>
              <a:t> </a:t>
            </a:r>
            <a:r>
              <a:rPr lang="de-DE" dirty="0" err="1"/>
              <a:t>esetén</a:t>
            </a:r>
            <a:r>
              <a:rPr lang="de-DE" dirty="0"/>
              <a:t>, </a:t>
            </a:r>
            <a:r>
              <a:rPr lang="de-DE" dirty="0" err="1"/>
              <a:t>ahol</a:t>
            </a:r>
            <a:r>
              <a:rPr lang="de-DE" dirty="0"/>
              <a:t> a </a:t>
            </a:r>
            <a:r>
              <a:rPr lang="de-DE" dirty="0" err="1"/>
              <a:t>cső</a:t>
            </a:r>
            <a:r>
              <a:rPr lang="de-DE" dirty="0"/>
              <a:t> a </a:t>
            </a:r>
            <a:r>
              <a:rPr lang="de-DE" dirty="0" err="1"/>
              <a:t>szabványos</a:t>
            </a:r>
            <a:r>
              <a:rPr lang="de-DE" dirty="0"/>
              <a:t> </a:t>
            </a:r>
            <a:r>
              <a:rPr lang="de-DE" dirty="0" err="1"/>
              <a:t>átmérőn</a:t>
            </a:r>
            <a:r>
              <a:rPr lang="de-DE" dirty="0"/>
              <a:t> </a:t>
            </a:r>
            <a:r>
              <a:rPr lang="de-DE" dirty="0" err="1"/>
              <a:t>kívül</a:t>
            </a:r>
            <a:r>
              <a:rPr lang="de-DE" dirty="0"/>
              <a:t> </a:t>
            </a:r>
            <a:r>
              <a:rPr lang="de-DE" dirty="0" err="1"/>
              <a:t>esik</a:t>
            </a:r>
            <a:r>
              <a:rPr lang="de-DE" dirty="0"/>
              <a:t>, a </a:t>
            </a:r>
            <a:r>
              <a:rPr lang="de-DE" dirty="0" err="1"/>
              <a:t>befogás</a:t>
            </a:r>
            <a:r>
              <a:rPr lang="de-DE" dirty="0"/>
              <a:t> és </a:t>
            </a:r>
            <a:r>
              <a:rPr lang="de-DE" dirty="0" err="1"/>
              <a:t>az</a:t>
            </a:r>
            <a:r>
              <a:rPr lang="de-DE" dirty="0"/>
              <a:t> </a:t>
            </a:r>
            <a:r>
              <a:rPr lang="de-DE" dirty="0" err="1"/>
              <a:t>összeolvadás</a:t>
            </a:r>
            <a:r>
              <a:rPr lang="de-DE" dirty="0"/>
              <a:t> </a:t>
            </a:r>
            <a:r>
              <a:rPr lang="de-DE" dirty="0" err="1"/>
              <a:t>megtörténhet</a:t>
            </a:r>
            <a:endParaRPr lang="de-DE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4E624C1F-EB99-4FB7-92E5-6170E44163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79775" y="3531105"/>
            <a:ext cx="2411256" cy="2041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904282D-5904-45DA-8241-94AAE9AD8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F9430F9-EC24-4767-902C-9954AE47B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21</a:t>
            </a:fld>
            <a:endParaRPr lang="en-GB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3192C86-89E7-341C-C375-C770511ADA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4103" y="0"/>
            <a:ext cx="3857897" cy="6864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1730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FB9BE8-8F84-4B0A-A257-6FD275A6E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22</a:t>
            </a:fld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97347C-E0F9-4526-966D-18D5E3E69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>
                <a:solidFill>
                  <a:schemeClr val="accent1"/>
                </a:solidFill>
              </a:rPr>
              <a:t>Top-Loading</a:t>
            </a:r>
            <a:br>
              <a:rPr lang="en-GB" b="0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Close-Fit </a:t>
            </a:r>
            <a:r>
              <a:rPr lang="hu-HU" dirty="0">
                <a:solidFill>
                  <a:schemeClr val="accent1"/>
                </a:solidFill>
              </a:rPr>
              <a:t>csövekhez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74C6823-42F8-4263-B0A8-792E560051B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1162" y="1460902"/>
            <a:ext cx="6490081" cy="950785"/>
          </a:xfrm>
        </p:spPr>
        <p:txBody>
          <a:bodyPr/>
          <a:lstStyle/>
          <a:p>
            <a:pPr marL="0" indent="0">
              <a:buNone/>
            </a:pPr>
            <a:r>
              <a:rPr lang="hu-HU" b="1" dirty="0"/>
              <a:t>Rögzítés</a:t>
            </a:r>
            <a:endParaRPr lang="en-GB" b="1" dirty="0"/>
          </a:p>
          <a:p>
            <a:pPr marL="0" indent="0">
              <a:buNone/>
            </a:pPr>
            <a:r>
              <a:rPr lang="de-DE" sz="1600" dirty="0" err="1"/>
              <a:t>Kérjük</a:t>
            </a:r>
            <a:r>
              <a:rPr lang="de-DE" sz="1600" dirty="0"/>
              <a:t> </a:t>
            </a:r>
            <a:r>
              <a:rPr lang="de-DE" sz="1600" dirty="0" err="1"/>
              <a:t>tanulmányozza</a:t>
            </a:r>
            <a:r>
              <a:rPr lang="de-DE" sz="1600" dirty="0"/>
              <a:t> a </a:t>
            </a:r>
            <a:r>
              <a:rPr lang="de-DE" sz="1600" dirty="0" err="1"/>
              <a:t>pontos</a:t>
            </a:r>
            <a:r>
              <a:rPr lang="de-DE" sz="1600" dirty="0"/>
              <a:t> </a:t>
            </a:r>
            <a:r>
              <a:rPr lang="de-DE" sz="1600" dirty="0" err="1"/>
              <a:t>eljárást</a:t>
            </a:r>
            <a:r>
              <a:rPr lang="de-DE" sz="1600" dirty="0"/>
              <a:t> a </a:t>
            </a:r>
            <a:r>
              <a:rPr lang="de-DE" sz="1600" dirty="0" err="1"/>
              <a:t>szerelési</a:t>
            </a:r>
            <a:r>
              <a:rPr lang="de-DE" sz="1600" dirty="0"/>
              <a:t> és </a:t>
            </a:r>
            <a:r>
              <a:rPr lang="de-DE" sz="1600" dirty="0" err="1"/>
              <a:t>felhasználási</a:t>
            </a:r>
            <a:r>
              <a:rPr lang="de-DE" sz="1600" dirty="0"/>
              <a:t> </a:t>
            </a:r>
            <a:r>
              <a:rPr lang="de-DE" sz="1600" dirty="0" err="1"/>
              <a:t>útmutatónkban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BAB8039-C903-3306-A101-1FCACF8598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425" r="28138"/>
          <a:stretch/>
        </p:blipFill>
        <p:spPr>
          <a:xfrm rot="5400000">
            <a:off x="6224569" y="890569"/>
            <a:ext cx="6858000" cy="50768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BAB7CA19-67EA-B743-2961-326EE4481C0D}"/>
              </a:ext>
            </a:extLst>
          </p:cNvPr>
          <p:cNvSpPr txBox="1"/>
          <p:nvPr/>
        </p:nvSpPr>
        <p:spPr>
          <a:xfrm>
            <a:off x="392186" y="6501417"/>
            <a:ext cx="610299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|  Infrastructure -  Clamping DAA / DAV on Close-Fit Liner 2023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94C310-887D-01DA-4CFC-73F8346969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463552" y="3077999"/>
            <a:ext cx="1944088" cy="273131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64B1C9F-6886-6468-DA59-CC83C6346D0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27"/>
          <a:stretch/>
        </p:blipFill>
        <p:spPr>
          <a:xfrm>
            <a:off x="2654159" y="3091474"/>
            <a:ext cx="1944088" cy="2731311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B2B61C1-52C9-D384-E77A-0F9BCCBBF2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2766" y="3105416"/>
            <a:ext cx="1918134" cy="271621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51A76F-0446-897C-711C-B6BF8BBE72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AA466CD-80F8-98F5-422C-BDCB9EDDE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60362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FB9BE8-8F84-4B0A-A257-6FD275A6E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23</a:t>
            </a:fld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97347C-E0F9-4526-966D-18D5E3E69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>
                <a:solidFill>
                  <a:schemeClr val="accent1"/>
                </a:solidFill>
              </a:rPr>
              <a:t>Top-Loading</a:t>
            </a:r>
            <a:br>
              <a:rPr lang="en-GB" b="0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Close-Fit Liner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74C6823-42F8-4263-B0A8-792E560051B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70" y="1476000"/>
            <a:ext cx="1606930" cy="514726"/>
          </a:xfrm>
        </p:spPr>
        <p:txBody>
          <a:bodyPr/>
          <a:lstStyle/>
          <a:p>
            <a:pPr marL="0" indent="0">
              <a:buNone/>
            </a:pPr>
            <a:r>
              <a:rPr lang="hu-HU" b="1" dirty="0"/>
              <a:t>Megjegyzés</a:t>
            </a:r>
            <a:endParaRPr lang="en-GB" b="1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" name="Inhaltsplatzhalter 9">
            <a:extLst>
              <a:ext uri="{FF2B5EF4-FFF2-40B4-BE49-F238E27FC236}">
                <a16:creationId xmlns:a16="http://schemas.microsoft.com/office/drawing/2014/main" id="{2B941C57-CFCF-583B-2883-9169345DEAF0}"/>
              </a:ext>
            </a:extLst>
          </p:cNvPr>
          <p:cNvSpPr txBox="1">
            <a:spLocks/>
          </p:cNvSpPr>
          <p:nvPr/>
        </p:nvSpPr>
        <p:spPr>
          <a:xfrm>
            <a:off x="463167" y="1877467"/>
            <a:ext cx="4856827" cy="514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50825" indent="-25082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550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55588" algn="l" defTabSz="76835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7100" indent="-1952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317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entury Gothic" panose="020B0502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entury Gothic" panose="020B0502020202020204" pitchFamily="34" charset="0"/>
              <a:buNone/>
            </a:pPr>
            <a:r>
              <a:rPr lang="en-GB" sz="1600" dirty="0" err="1"/>
              <a:t>Néh</a:t>
            </a:r>
            <a:r>
              <a:rPr lang="hu-HU" sz="1600" dirty="0"/>
              <a:t>á</a:t>
            </a:r>
            <a:r>
              <a:rPr lang="en-GB" sz="1600" dirty="0" err="1"/>
              <a:t>ny</a:t>
            </a:r>
            <a:r>
              <a:rPr lang="en-GB" sz="1600" dirty="0"/>
              <a:t> </a:t>
            </a:r>
            <a:r>
              <a:rPr lang="en-GB" sz="1600" dirty="0" err="1"/>
              <a:t>esetben</a:t>
            </a:r>
            <a:r>
              <a:rPr lang="en-GB" sz="1600" dirty="0"/>
              <a:t> </a:t>
            </a:r>
            <a:r>
              <a:rPr lang="en-GB" sz="1600" dirty="0" err="1"/>
              <a:t>szükséges</a:t>
            </a:r>
            <a:r>
              <a:rPr lang="en-GB" sz="1600" dirty="0"/>
              <a:t> a </a:t>
            </a:r>
            <a:r>
              <a:rPr lang="en-GB" sz="1600" dirty="0" err="1"/>
              <a:t>csövek</a:t>
            </a:r>
            <a:r>
              <a:rPr lang="en-GB" sz="1600" dirty="0"/>
              <a:t> </a:t>
            </a:r>
            <a:r>
              <a:rPr lang="en-GB" sz="1600" dirty="0" err="1"/>
              <a:t>körkörösítése</a:t>
            </a:r>
            <a:r>
              <a:rPr lang="en-GB" sz="1600" dirty="0"/>
              <a:t>.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27B448F-34EE-069C-C1A8-C4DE8249167E}"/>
              </a:ext>
            </a:extLst>
          </p:cNvPr>
          <p:cNvSpPr txBox="1"/>
          <p:nvPr/>
        </p:nvSpPr>
        <p:spPr>
          <a:xfrm>
            <a:off x="387991" y="6494914"/>
            <a:ext cx="609460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|  Infrastructure -  Clamping DAA / DAV on Close-Fit Liner 2023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D68D252-6E37-7233-EF67-3F54B49222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167" y="2534914"/>
            <a:ext cx="4389693" cy="36102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E86A53C-ED26-5CA4-2733-D8B97613C9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71" t="122" r="902" b="674"/>
          <a:stretch/>
        </p:blipFill>
        <p:spPr>
          <a:xfrm>
            <a:off x="5146575" y="2539638"/>
            <a:ext cx="2538336" cy="36115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C4F9A80-0E8A-BAA0-980A-12AAC3BAD1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4805" y="3617601"/>
            <a:ext cx="3663809" cy="2531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FA65543-43EE-2A10-415D-52A5BBC907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83194" y="1699807"/>
            <a:ext cx="1874291" cy="177443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2E248C1-2C2A-BF2B-1F67-BDEEB6F020A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7590" r="2078" b="6281"/>
          <a:stretch/>
        </p:blipFill>
        <p:spPr>
          <a:xfrm>
            <a:off x="7997683" y="404023"/>
            <a:ext cx="2919796" cy="109125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6CB0014-08CC-8265-14FF-30A000EC55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3425" y="1166786"/>
            <a:ext cx="2538336" cy="118837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255E30-272A-6B22-E658-7C724BFD5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CD309AA-6817-C1EC-C3D0-272FE56289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6303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297868C-8F4C-41A2-B3A1-DD276CE1EF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4074" y="2331085"/>
            <a:ext cx="4717959" cy="1522413"/>
          </a:xfrm>
        </p:spPr>
        <p:txBody>
          <a:bodyPr/>
          <a:lstStyle/>
          <a:p>
            <a:pPr>
              <a:spcBef>
                <a:spcPct val="0"/>
              </a:spcBef>
              <a:defRPr/>
            </a:pPr>
            <a:r>
              <a:rPr lang="en-US" sz="3200" dirty="0">
                <a:solidFill>
                  <a:prstClr val="white"/>
                </a:solidFill>
              </a:rPr>
              <a:t>FRIALEN </a:t>
            </a:r>
            <a:r>
              <a:rPr lang="en-US" sz="3200" dirty="0" err="1">
                <a:solidFill>
                  <a:prstClr val="white"/>
                </a:solidFill>
              </a:rPr>
              <a:t>elektrofitting</a:t>
            </a:r>
            <a:r>
              <a:rPr lang="en-US" sz="3200" dirty="0">
                <a:solidFill>
                  <a:prstClr val="white"/>
                </a:solidFill>
              </a:rPr>
              <a:t> </a:t>
            </a:r>
            <a:r>
              <a:rPr lang="en-US" sz="3200" dirty="0" err="1">
                <a:solidFill>
                  <a:prstClr val="white"/>
                </a:solidFill>
              </a:rPr>
              <a:t>leágazó</a:t>
            </a:r>
            <a:r>
              <a:rPr lang="en-US" sz="3200" dirty="0">
                <a:solidFill>
                  <a:prstClr val="white"/>
                </a:solidFill>
              </a:rPr>
              <a:t> </a:t>
            </a:r>
            <a:r>
              <a:rPr lang="en-US" sz="3200" dirty="0" err="1">
                <a:solidFill>
                  <a:prstClr val="white"/>
                </a:solidFill>
              </a:rPr>
              <a:t>nyeregidomok</a:t>
            </a:r>
            <a:endParaRPr lang="en-US" dirty="0">
              <a:solidFill>
                <a:prstClr val="white"/>
              </a:solidFill>
            </a:endParaRPr>
          </a:p>
          <a:p>
            <a:pPr>
              <a:spcBef>
                <a:spcPct val="0"/>
              </a:spcBef>
              <a:defRPr/>
            </a:pPr>
            <a:r>
              <a:rPr lang="en-US" dirty="0" err="1">
                <a:solidFill>
                  <a:prstClr val="white"/>
                </a:solidFill>
              </a:rPr>
              <a:t>Költségkímélő</a:t>
            </a:r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en-US" dirty="0" err="1">
                <a:solidFill>
                  <a:prstClr val="white"/>
                </a:solidFill>
              </a:rPr>
              <a:t>alternatíva</a:t>
            </a:r>
            <a:r>
              <a:rPr lang="en-US" dirty="0">
                <a:solidFill>
                  <a:prstClr val="white"/>
                </a:solidFill>
              </a:rPr>
              <a:t> T </a:t>
            </a:r>
            <a:r>
              <a:rPr lang="en-US" dirty="0" err="1">
                <a:solidFill>
                  <a:prstClr val="white"/>
                </a:solidFill>
              </a:rPr>
              <a:t>idomok</a:t>
            </a:r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en-US" dirty="0" err="1">
                <a:solidFill>
                  <a:prstClr val="white"/>
                </a:solidFill>
              </a:rPr>
              <a:t>helyett</a:t>
            </a:r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hu-HU" dirty="0">
                <a:solidFill>
                  <a:prstClr val="white"/>
                </a:solidFill>
              </a:rPr>
              <a:t>a</a:t>
            </a:r>
            <a:r>
              <a:rPr lang="en-US" dirty="0">
                <a:solidFill>
                  <a:prstClr val="white"/>
                </a:solidFill>
              </a:rPr>
              <a:t> PE-HD relining </a:t>
            </a:r>
            <a:r>
              <a:rPr lang="en-US" dirty="0" err="1">
                <a:solidFill>
                  <a:prstClr val="white"/>
                </a:solidFill>
              </a:rPr>
              <a:t>alkalmazásokhoz</a:t>
            </a:r>
            <a:endParaRPr lang="en-US" dirty="0">
              <a:solidFill>
                <a:prstClr val="white"/>
              </a:solidFill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901F19AB-986A-4E58-A6D6-1CFE94A243A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" b="5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56521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48BD1DA1-CC4F-4B80-BFED-DD7F5D7F5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 dirty="0"/>
              <a:t>SA UNI – </a:t>
            </a:r>
            <a:r>
              <a:rPr lang="hu-HU" dirty="0"/>
              <a:t>méretválaszték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818004-41DE-4522-94A4-BBEF2D4294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CE62731-926B-4EE3-8347-91310D0303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927" y="1013371"/>
            <a:ext cx="5426075" cy="3734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Tabellenplatzhalter 10">
            <a:extLst>
              <a:ext uri="{FF2B5EF4-FFF2-40B4-BE49-F238E27FC236}">
                <a16:creationId xmlns:a16="http://schemas.microsoft.com/office/drawing/2014/main" id="{48716F9C-8BFF-4D13-9335-294A7843EA9F}"/>
              </a:ext>
            </a:extLst>
          </p:cNvPr>
          <p:cNvGraphicFramePr>
            <a:graphicFrameLocks/>
          </p:cNvGraphicFramePr>
          <p:nvPr/>
        </p:nvGraphicFramePr>
        <p:xfrm>
          <a:off x="463549" y="1013371"/>
          <a:ext cx="4124473" cy="5131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67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477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45966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Main</a:t>
                      </a:r>
                    </a:p>
                    <a:p>
                      <a:pPr algn="ctr"/>
                      <a:r>
                        <a:rPr lang="de-DE" dirty="0"/>
                        <a:t>d</a:t>
                      </a:r>
                      <a:r>
                        <a:rPr lang="de-DE" baseline="-250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Offtake</a:t>
                      </a:r>
                      <a:endParaRPr lang="de-DE" dirty="0"/>
                    </a:p>
                    <a:p>
                      <a:pPr algn="ctr"/>
                      <a:r>
                        <a:rPr lang="de-DE" dirty="0"/>
                        <a:t>d</a:t>
                      </a:r>
                      <a:r>
                        <a:rPr lang="de-DE" baseline="-250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250 – 2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9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9123"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250 – 2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1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250 – 2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1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250 – 2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1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315 –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9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315 –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1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315 –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1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315 –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1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450 – 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9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450 – 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1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450 – 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1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4250"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450 – 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/>
                        <a:t>1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CD53F59D-30F5-0ED8-F177-6D6B6E4B7A70}"/>
              </a:ext>
            </a:extLst>
          </p:cNvPr>
          <p:cNvSpPr txBox="1"/>
          <p:nvPr/>
        </p:nvSpPr>
        <p:spPr>
          <a:xfrm rot="20758405">
            <a:off x="5063915" y="4952028"/>
            <a:ext cx="698941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ains d315 – d1200</a:t>
            </a:r>
            <a:b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with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fftake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d225 &amp; d250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w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vailable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750C71B-4586-EC89-858A-87F2C1E1A8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3974A9C-B200-6704-EAE8-64B979420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136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BA2AB0-47FA-2F03-76DE-7867A383C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65D2754-FB80-FD4B-CB93-B4169712B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>
                <a:solidFill>
                  <a:schemeClr val="accent1"/>
                </a:solidFill>
              </a:rPr>
              <a:t>FRIALEN </a:t>
            </a:r>
            <a:r>
              <a:rPr lang="en-GB" b="0" dirty="0" err="1">
                <a:solidFill>
                  <a:schemeClr val="accent1"/>
                </a:solidFill>
              </a:rPr>
              <a:t>elektrofitting</a:t>
            </a:r>
            <a:r>
              <a:rPr lang="en-GB" b="0" dirty="0">
                <a:solidFill>
                  <a:schemeClr val="accent1"/>
                </a:solidFill>
              </a:rPr>
              <a:t> </a:t>
            </a:r>
            <a:r>
              <a:rPr lang="en-GB" b="0" dirty="0" err="1">
                <a:solidFill>
                  <a:schemeClr val="accent1"/>
                </a:solidFill>
              </a:rPr>
              <a:t>leágazó</a:t>
            </a:r>
            <a:r>
              <a:rPr lang="en-GB" b="0" dirty="0">
                <a:solidFill>
                  <a:schemeClr val="accent1"/>
                </a:solidFill>
              </a:rPr>
              <a:t> </a:t>
            </a:r>
            <a:r>
              <a:rPr lang="en-GB" b="0" dirty="0" err="1">
                <a:solidFill>
                  <a:schemeClr val="accent1"/>
                </a:solidFill>
              </a:rPr>
              <a:t>idomok</a:t>
            </a:r>
            <a:br>
              <a:rPr lang="en-GB" b="0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SA-UNI d 315 - d 1200 with outlet 225/250 - Projekt </a:t>
            </a:r>
            <a:r>
              <a:rPr lang="en-GB" dirty="0" err="1">
                <a:solidFill>
                  <a:schemeClr val="accent1"/>
                </a:solidFill>
              </a:rPr>
              <a:t>Esettanulmán</a:t>
            </a:r>
            <a:r>
              <a:rPr lang="hu-HU" dirty="0">
                <a:solidFill>
                  <a:schemeClr val="accent1"/>
                </a:solidFill>
              </a:rPr>
              <a:t>y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0AB44D2-9C38-9FFC-83EB-DD367E2CBF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DFAD46-C9C1-AB29-71C1-C7CA48619D7F}"/>
              </a:ext>
            </a:extLst>
          </p:cNvPr>
          <p:cNvSpPr txBox="1"/>
          <p:nvPr/>
        </p:nvSpPr>
        <p:spPr>
          <a:xfrm flipH="1">
            <a:off x="463548" y="1317356"/>
            <a:ext cx="114236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Ügyfél: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Sachsen Netze Dresd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jekt leírá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: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DN 600-as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célcső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elújítása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d560 SDR17 PE</a:t>
            </a: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cső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elhasználásával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-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üzemi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yomá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8b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3" name="Grafik 12" descr="Ein Bild, das draußen, Gelände, Pfeife Flöte Rohr, Straße enthält.&#10;&#10;Automatisch generierte Beschreibung">
            <a:extLst>
              <a:ext uri="{FF2B5EF4-FFF2-40B4-BE49-F238E27FC236}">
                <a16:creationId xmlns:a16="http://schemas.microsoft.com/office/drawing/2014/main" id="{1915525B-CAF3-310C-A0B6-5508AF0337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48" y="2348784"/>
            <a:ext cx="1797358" cy="3983064"/>
          </a:xfrm>
          <a:prstGeom prst="rect">
            <a:avLst/>
          </a:prstGeom>
        </p:spPr>
      </p:pic>
      <p:pic>
        <p:nvPicPr>
          <p:cNvPr id="15" name="Grafik 14" descr="Ein Bild, das Kleidung, Blue Collar, Person, draußen enthält.&#10;&#10;Automatisch generierte Beschreibung">
            <a:extLst>
              <a:ext uri="{FF2B5EF4-FFF2-40B4-BE49-F238E27FC236}">
                <a16:creationId xmlns:a16="http://schemas.microsoft.com/office/drawing/2014/main" id="{9C76A52B-6097-EA75-719F-EE00755209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5306" y="2348784"/>
            <a:ext cx="6717800" cy="3031407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60F60B58-6262-9F37-0C05-F52822DB8887}"/>
              </a:ext>
            </a:extLst>
          </p:cNvPr>
          <p:cNvSpPr txBox="1"/>
          <p:nvPr/>
        </p:nvSpPr>
        <p:spPr>
          <a:xfrm>
            <a:off x="2372140" y="5520717"/>
            <a:ext cx="914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ompahegesztet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200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éte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osszú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PE-HD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sővezeték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ehúzása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aj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d 560 SDR17 FRIALEN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lektrofitt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karmantyúkkal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és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zegmentál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domokkal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örténő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ekötés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0A994A2-4EDD-6F64-6903-71E810D09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DDBAD-C412-A805-4AD9-E2FCC935E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46084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BA2AB0-47FA-2F03-76DE-7867A383C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65D2754-FB80-FD4B-CB93-B4169712B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>
                <a:solidFill>
                  <a:schemeClr val="accent1"/>
                </a:solidFill>
              </a:rPr>
              <a:t>FRIALEN </a:t>
            </a:r>
            <a:r>
              <a:rPr lang="en-GB" b="0" dirty="0" err="1">
                <a:solidFill>
                  <a:schemeClr val="accent1"/>
                </a:solidFill>
              </a:rPr>
              <a:t>elektrofitting</a:t>
            </a:r>
            <a:r>
              <a:rPr lang="en-GB" b="0" dirty="0">
                <a:solidFill>
                  <a:schemeClr val="accent1"/>
                </a:solidFill>
              </a:rPr>
              <a:t> </a:t>
            </a:r>
            <a:r>
              <a:rPr lang="en-GB" b="0" dirty="0" err="1">
                <a:solidFill>
                  <a:schemeClr val="accent1"/>
                </a:solidFill>
              </a:rPr>
              <a:t>leágazó</a:t>
            </a:r>
            <a:r>
              <a:rPr lang="en-GB" b="0" dirty="0">
                <a:solidFill>
                  <a:schemeClr val="accent1"/>
                </a:solidFill>
              </a:rPr>
              <a:t> </a:t>
            </a:r>
            <a:r>
              <a:rPr lang="en-GB" b="0" dirty="0" err="1">
                <a:solidFill>
                  <a:schemeClr val="accent1"/>
                </a:solidFill>
              </a:rPr>
              <a:t>idomok</a:t>
            </a:r>
            <a:br>
              <a:rPr lang="en-GB" b="0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SA-UNI d 315 - d 1200 with outlet 225/250 – </a:t>
            </a:r>
            <a:r>
              <a:rPr lang="hu-HU" dirty="0">
                <a:solidFill>
                  <a:schemeClr val="accent1"/>
                </a:solidFill>
              </a:rPr>
              <a:t>projekt Esettanulmány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0AB44D2-9C38-9FFC-83EB-DD367E2CBF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DFAD46-C9C1-AB29-71C1-C7CA48619D7F}"/>
              </a:ext>
            </a:extLst>
          </p:cNvPr>
          <p:cNvSpPr txBox="1"/>
          <p:nvPr/>
        </p:nvSpPr>
        <p:spPr>
          <a:xfrm flipH="1">
            <a:off x="463548" y="1317356"/>
            <a:ext cx="11501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Ügyfél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: Sachsennetze Dresd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jekt leírá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: </a:t>
            </a: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N 600 mm acél csővezeték felújítása d 560 mm SDR17- es HD-PE csővel, üzemi nyomás 8 bar minden leágazást SA UNI 560-225 méretű FRALEN idommal alakítottak ki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Grafik 2" descr="Ein Bild, das Kleidung, Pfeife Flöte Rohr, Blue Collar, Person enthält.&#10;&#10;Automatisch generierte Beschreibung">
            <a:extLst>
              <a:ext uri="{FF2B5EF4-FFF2-40B4-BE49-F238E27FC236}">
                <a16:creationId xmlns:a16="http://schemas.microsoft.com/office/drawing/2014/main" id="{436A62DF-AD36-F522-268B-FD43A3EC0E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48" y="2279041"/>
            <a:ext cx="1860301" cy="4122549"/>
          </a:xfrm>
          <a:prstGeom prst="rect">
            <a:avLst/>
          </a:prstGeom>
        </p:spPr>
      </p:pic>
      <p:pic>
        <p:nvPicPr>
          <p:cNvPr id="12" name="Grafik 11" descr="Ein Bild, das Kleidung, Person, Menschliches Gesicht, Helm enthält.&#10;&#10;Automatisch generierte Beschreibung">
            <a:extLst>
              <a:ext uri="{FF2B5EF4-FFF2-40B4-BE49-F238E27FC236}">
                <a16:creationId xmlns:a16="http://schemas.microsoft.com/office/drawing/2014/main" id="{CD519AB1-FF91-6579-8145-1382FCBE08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5700" y="2279040"/>
            <a:ext cx="1860300" cy="4122549"/>
          </a:xfrm>
          <a:prstGeom prst="rect">
            <a:avLst/>
          </a:prstGeom>
        </p:spPr>
      </p:pic>
      <p:pic>
        <p:nvPicPr>
          <p:cNvPr id="16" name="Grafik 15" descr="Ein Bild, das Pfeife Flöte Rohr, Kleidung, Person, Blue Collar enthält.&#10;&#10;Automatisch generierte Beschreibung">
            <a:extLst>
              <a:ext uri="{FF2B5EF4-FFF2-40B4-BE49-F238E27FC236}">
                <a16:creationId xmlns:a16="http://schemas.microsoft.com/office/drawing/2014/main" id="{FF87C148-2D7C-EBDE-62DD-A511DDB63F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7851" y="2279040"/>
            <a:ext cx="2554807" cy="4132985"/>
          </a:xfrm>
          <a:prstGeom prst="rect">
            <a:avLst/>
          </a:prstGeom>
        </p:spPr>
      </p:pic>
      <p:pic>
        <p:nvPicPr>
          <p:cNvPr id="18" name="Grafik 17" descr="Ein Bild, das Text, Zylinder, Pfeife Flöte Rohr, Fass enthält.&#10;&#10;Automatisch generierte Beschreibung">
            <a:extLst>
              <a:ext uri="{FF2B5EF4-FFF2-40B4-BE49-F238E27FC236}">
                <a16:creationId xmlns:a16="http://schemas.microsoft.com/office/drawing/2014/main" id="{BF758627-2E14-F8F3-5BBE-ED3B182114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509" y="2279040"/>
            <a:ext cx="1842894" cy="4083976"/>
          </a:xfrm>
          <a:prstGeom prst="rect">
            <a:avLst/>
          </a:prstGeom>
        </p:spPr>
      </p:pic>
      <p:pic>
        <p:nvPicPr>
          <p:cNvPr id="20" name="Grafik 19" descr="Ein Bild, das Kleidung, Person, Blue Collar, Gelände enthält.&#10;&#10;Automatisch generierte Beschreibung">
            <a:extLst>
              <a:ext uri="{FF2B5EF4-FFF2-40B4-BE49-F238E27FC236}">
                <a16:creationId xmlns:a16="http://schemas.microsoft.com/office/drawing/2014/main" id="{2DDDB616-1D55-BE2A-9BAD-5A35E8D70DB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509" y="2279040"/>
            <a:ext cx="2995350" cy="408397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387829-5C10-1832-47AF-F17802668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169048-F587-9D68-9237-D65380019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97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A87E56F-86A7-46D0-916B-03A1E8AE0D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A87E56F-86A7-46D0-916B-03A1E8AE0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0A3F22-D9F3-4703-9FF1-E25B3F27B3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4074" y="2455087"/>
            <a:ext cx="4423819" cy="1962364"/>
          </a:xfrm>
        </p:spPr>
        <p:txBody>
          <a:bodyPr/>
          <a:lstStyle/>
          <a:p>
            <a:r>
              <a:rPr lang="de-DE" dirty="0" err="1"/>
              <a:t>Nyomás</a:t>
            </a:r>
            <a:r>
              <a:rPr lang="de-DE" dirty="0"/>
              <a:t> </a:t>
            </a:r>
            <a:r>
              <a:rPr lang="de-DE" dirty="0" err="1"/>
              <a:t>alatti</a:t>
            </a:r>
            <a:r>
              <a:rPr lang="de-DE" dirty="0"/>
              <a:t> </a:t>
            </a:r>
            <a:r>
              <a:rPr lang="de-DE" dirty="0" err="1"/>
              <a:t>leágazás</a:t>
            </a:r>
            <a:r>
              <a:rPr lang="de-DE" dirty="0"/>
              <a:t> </a:t>
            </a:r>
            <a:r>
              <a:rPr lang="de-DE" dirty="0" err="1"/>
              <a:t>kialakítása</a:t>
            </a:r>
            <a:endParaRPr lang="hu-HU" dirty="0"/>
          </a:p>
          <a:p>
            <a:r>
              <a:rPr lang="de-DE" sz="2400" b="0" dirty="0"/>
              <a:t>16 bar </a:t>
            </a:r>
            <a:r>
              <a:rPr lang="hu-HU" sz="2400" b="0" dirty="0" err="1"/>
              <a:t>VÍz</a:t>
            </a:r>
            <a:r>
              <a:rPr lang="de-DE" sz="2400" b="0" dirty="0"/>
              <a:t> / 10 bar G</a:t>
            </a:r>
            <a:r>
              <a:rPr lang="hu-HU" sz="2400" b="0" dirty="0" err="1"/>
              <a:t>áz</a:t>
            </a:r>
            <a:br>
              <a:rPr lang="de-DE" sz="2400" b="0" dirty="0"/>
            </a:br>
            <a:endParaRPr lang="de-DE" sz="2000" b="0" dirty="0"/>
          </a:p>
        </p:txBody>
      </p:sp>
      <p:pic>
        <p:nvPicPr>
          <p:cNvPr id="6" name="Bildplatzhalter 5" descr="Ein Bild, das Gebäude, Boden, draußen, Rock enthält.&#10;&#10;Automatisch generierte Beschreibung">
            <a:extLst>
              <a:ext uri="{FF2B5EF4-FFF2-40B4-BE49-F238E27FC236}">
                <a16:creationId xmlns:a16="http://schemas.microsoft.com/office/drawing/2014/main" id="{E70D8861-B294-4FC0-9CE7-FFB897FD982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32" r="1193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425663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697347C-E0F9-4526-966D-18D5E3E69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>
                <a:solidFill>
                  <a:schemeClr val="accent1"/>
                </a:solidFill>
              </a:rPr>
              <a:t>Nyomás</a:t>
            </a:r>
            <a:r>
              <a:rPr lang="en-GB" b="0" dirty="0">
                <a:solidFill>
                  <a:schemeClr val="accent1"/>
                </a:solidFill>
              </a:rPr>
              <a:t> </a:t>
            </a:r>
            <a:r>
              <a:rPr lang="en-GB" b="0" dirty="0" err="1">
                <a:solidFill>
                  <a:schemeClr val="accent1"/>
                </a:solidFill>
              </a:rPr>
              <a:t>alatti</a:t>
            </a:r>
            <a:r>
              <a:rPr lang="en-GB" b="0" dirty="0">
                <a:solidFill>
                  <a:schemeClr val="accent1"/>
                </a:solidFill>
              </a:rPr>
              <a:t> </a:t>
            </a:r>
            <a:r>
              <a:rPr lang="en-GB" b="0" dirty="0" err="1">
                <a:solidFill>
                  <a:schemeClr val="accent1"/>
                </a:solidFill>
              </a:rPr>
              <a:t>leágazás</a:t>
            </a:r>
            <a:r>
              <a:rPr lang="en-GB" b="0" dirty="0">
                <a:solidFill>
                  <a:schemeClr val="accent1"/>
                </a:solidFill>
              </a:rPr>
              <a:t> FRIALOC </a:t>
            </a:r>
            <a:r>
              <a:rPr lang="en-GB" b="0" dirty="0" err="1">
                <a:solidFill>
                  <a:schemeClr val="accent1"/>
                </a:solidFill>
              </a:rPr>
              <a:t>elzárószerelvénnyel</a:t>
            </a:r>
            <a:r>
              <a:rPr lang="en-GB" b="0" dirty="0">
                <a:solidFill>
                  <a:schemeClr val="accent1"/>
                </a:solidFill>
              </a:rPr>
              <a:t> </a:t>
            </a:r>
            <a:r>
              <a:rPr lang="en-GB" b="0" dirty="0" err="1">
                <a:solidFill>
                  <a:schemeClr val="accent1"/>
                </a:solidFill>
              </a:rPr>
              <a:t>kombinálva</a:t>
            </a:r>
            <a:endParaRPr lang="en-GB" dirty="0">
              <a:solidFill>
                <a:srgbClr val="32AAFF"/>
              </a:solidFill>
              <a:latin typeface="+mn-lt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9FCAE10-CA2D-445B-958C-B639D6BFF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FBD2830-F309-493E-82B5-4DD7B8C576DE}"/>
              </a:ext>
            </a:extLst>
          </p:cNvPr>
          <p:cNvSpPr/>
          <p:nvPr/>
        </p:nvSpPr>
        <p:spPr>
          <a:xfrm>
            <a:off x="7711441" y="3509554"/>
            <a:ext cx="1071154" cy="1297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50" name="Picture 4" descr="C:\Users\Public\Pictures\FRIALOC.PNG">
            <a:extLst>
              <a:ext uri="{FF2B5EF4-FFF2-40B4-BE49-F238E27FC236}">
                <a16:creationId xmlns:a16="http://schemas.microsoft.com/office/drawing/2014/main" id="{9BD5D1FC-99A6-4E14-905E-7C5F8B93D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3392" y="2393210"/>
            <a:ext cx="4378643" cy="278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hteck 50">
            <a:extLst>
              <a:ext uri="{FF2B5EF4-FFF2-40B4-BE49-F238E27FC236}">
                <a16:creationId xmlns:a16="http://schemas.microsoft.com/office/drawing/2014/main" id="{5650DD4B-DB6B-4312-8707-FFF3FFF2F8FB}"/>
              </a:ext>
            </a:extLst>
          </p:cNvPr>
          <p:cNvSpPr/>
          <p:nvPr/>
        </p:nvSpPr>
        <p:spPr>
          <a:xfrm>
            <a:off x="550333" y="1345843"/>
            <a:ext cx="1356818" cy="493067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52" name="Picture 2" descr="C:\Users\Public\Pictures\SA-TL.PNG">
            <a:extLst>
              <a:ext uri="{FF2B5EF4-FFF2-40B4-BE49-F238E27FC236}">
                <a16:creationId xmlns:a16="http://schemas.microsoft.com/office/drawing/2014/main" id="{B845FE6A-534F-466E-B048-7B8A0F42D6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057060" y="3727752"/>
            <a:ext cx="1995038" cy="1497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C:\Users\Public\Pictures\UB.PNG">
            <a:extLst>
              <a:ext uri="{FF2B5EF4-FFF2-40B4-BE49-F238E27FC236}">
                <a16:creationId xmlns:a16="http://schemas.microsoft.com/office/drawing/2014/main" id="{DEB5137E-E4B9-40B5-B822-65C2925E8B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724" y="3956387"/>
            <a:ext cx="1496101" cy="1040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72EC98D5-EF41-4A5B-A7C1-1CBCF8C88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237348" y="1957588"/>
            <a:ext cx="2924274" cy="4768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32B5B6E0-0C17-4478-A664-AFBD91952F50}"/>
              </a:ext>
            </a:extLst>
          </p:cNvPr>
          <p:cNvSpPr/>
          <p:nvPr/>
        </p:nvSpPr>
        <p:spPr>
          <a:xfrm>
            <a:off x="6315075" y="4391413"/>
            <a:ext cx="4768820" cy="189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AD175CF-6A50-4FE2-A1A2-16494B7DAF16}"/>
              </a:ext>
            </a:extLst>
          </p:cNvPr>
          <p:cNvSpPr/>
          <p:nvPr/>
        </p:nvSpPr>
        <p:spPr>
          <a:xfrm>
            <a:off x="6063166" y="4217038"/>
            <a:ext cx="503818" cy="51156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A4AD0D5-D691-47E0-B6AB-71DE58F942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05794" y="4024684"/>
            <a:ext cx="280440" cy="922588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116DB213-D1E2-4F0E-B8A0-C8B2F941F053}"/>
              </a:ext>
            </a:extLst>
          </p:cNvPr>
          <p:cNvSpPr txBox="1"/>
          <p:nvPr/>
        </p:nvSpPr>
        <p:spPr>
          <a:xfrm>
            <a:off x="2106151" y="5444095"/>
            <a:ext cx="52073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fter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cessing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warf-les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utter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will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ushed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back due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o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lin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essur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.</a:t>
            </a:r>
          </a:p>
        </p:txBody>
      </p:sp>
      <p:sp>
        <p:nvSpPr>
          <p:cNvPr id="35" name="Nach rechts gekrümmter Pfeil 10">
            <a:extLst>
              <a:ext uri="{FF2B5EF4-FFF2-40B4-BE49-F238E27FC236}">
                <a16:creationId xmlns:a16="http://schemas.microsoft.com/office/drawing/2014/main" id="{D254F05C-6D5B-4952-BEB6-3C831039E5D3}"/>
              </a:ext>
            </a:extLst>
          </p:cNvPr>
          <p:cNvSpPr/>
          <p:nvPr/>
        </p:nvSpPr>
        <p:spPr>
          <a:xfrm>
            <a:off x="4564620" y="2369149"/>
            <a:ext cx="848704" cy="25283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24633C46-37B1-462C-B77C-1A0B339AE302}"/>
              </a:ext>
            </a:extLst>
          </p:cNvPr>
          <p:cNvSpPr txBox="1"/>
          <p:nvPr/>
        </p:nvSpPr>
        <p:spPr>
          <a:xfrm>
            <a:off x="4310563" y="1799696"/>
            <a:ext cx="13568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RIALOC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los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7" name="Pfeil nach unten 17">
            <a:extLst>
              <a:ext uri="{FF2B5EF4-FFF2-40B4-BE49-F238E27FC236}">
                <a16:creationId xmlns:a16="http://schemas.microsoft.com/office/drawing/2014/main" id="{6B461294-0DF0-46BB-9224-768B3BF8929C}"/>
              </a:ext>
            </a:extLst>
          </p:cNvPr>
          <p:cNvSpPr/>
          <p:nvPr/>
        </p:nvSpPr>
        <p:spPr>
          <a:xfrm rot="2127467">
            <a:off x="7529823" y="2695604"/>
            <a:ext cx="214684" cy="40346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62CEA23C-BEFD-428F-BB0F-429ABB94F5A6}"/>
              </a:ext>
            </a:extLst>
          </p:cNvPr>
          <p:cNvSpPr txBox="1"/>
          <p:nvPr/>
        </p:nvSpPr>
        <p:spPr>
          <a:xfrm>
            <a:off x="7182268" y="2155118"/>
            <a:ext cx="1682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urge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uni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2C9FAFD8-208E-4617-BF48-6B6A8E538A01}"/>
              </a:ext>
            </a:extLst>
          </p:cNvPr>
          <p:cNvSpPr/>
          <p:nvPr/>
        </p:nvSpPr>
        <p:spPr>
          <a:xfrm rot="16200000">
            <a:off x="8318811" y="2989109"/>
            <a:ext cx="751622" cy="29937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4" name="Picture 3" descr="C:\Users\Public\Pictures\UB.PNG">
            <a:extLst>
              <a:ext uri="{FF2B5EF4-FFF2-40B4-BE49-F238E27FC236}">
                <a16:creationId xmlns:a16="http://schemas.microsoft.com/office/drawing/2014/main" id="{FA190311-26FD-44AC-8B8B-F5D8C3DDA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9702" y="3969367"/>
            <a:ext cx="1496101" cy="1040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FCAE32F0-C390-4A86-9751-70217AC1C535}"/>
              </a:ext>
            </a:extLst>
          </p:cNvPr>
          <p:cNvSpPr txBox="1"/>
          <p:nvPr/>
        </p:nvSpPr>
        <p:spPr>
          <a:xfrm>
            <a:off x="3648535" y="1077318"/>
            <a:ext cx="2666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RIALOC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pen</a:t>
            </a:r>
          </a:p>
        </p:txBody>
      </p:sp>
      <p:sp>
        <p:nvSpPr>
          <p:cNvPr id="46" name="Nach rechts gekrümmter Pfeil 10">
            <a:extLst>
              <a:ext uri="{FF2B5EF4-FFF2-40B4-BE49-F238E27FC236}">
                <a16:creationId xmlns:a16="http://schemas.microsoft.com/office/drawing/2014/main" id="{D2EF27AE-860C-46DC-AAB4-32E6F6C37B27}"/>
              </a:ext>
            </a:extLst>
          </p:cNvPr>
          <p:cNvSpPr/>
          <p:nvPr/>
        </p:nvSpPr>
        <p:spPr>
          <a:xfrm rot="10800000">
            <a:off x="4564620" y="1600539"/>
            <a:ext cx="848704" cy="25283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12E55EA-C9DA-4E53-875B-8B5D188563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91491" y="3946986"/>
            <a:ext cx="2152650" cy="85725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A81EB29-6B53-DA5A-23D7-A5B1DE7479E4}"/>
              </a:ext>
            </a:extLst>
          </p:cNvPr>
          <p:cNvSpPr txBox="1"/>
          <p:nvPr/>
        </p:nvSpPr>
        <p:spPr>
          <a:xfrm>
            <a:off x="775733" y="2092083"/>
            <a:ext cx="9076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.g.</a:t>
            </a:r>
            <a:b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500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FE0B48C-B367-9982-023B-0AF0EECC2C05}"/>
              </a:ext>
            </a:extLst>
          </p:cNvPr>
          <p:cNvSpPr txBox="1"/>
          <p:nvPr/>
        </p:nvSpPr>
        <p:spPr>
          <a:xfrm>
            <a:off x="2329868" y="3342606"/>
            <a:ext cx="9076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160</a:t>
            </a:r>
          </a:p>
        </p:txBody>
      </p: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0ADD4B46-9222-15E9-99F3-10D1FB9EA47E}"/>
              </a:ext>
            </a:extLst>
          </p:cNvPr>
          <p:cNvGraphicFramePr>
            <a:graphicFrameLocks noGrp="1"/>
          </p:cNvGraphicFramePr>
          <p:nvPr/>
        </p:nvGraphicFramePr>
        <p:xfrm>
          <a:off x="7945804" y="723731"/>
          <a:ext cx="3906424" cy="7937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9856">
                  <a:extLst>
                    <a:ext uri="{9D8B030D-6E8A-4147-A177-3AD203B41FA5}">
                      <a16:colId xmlns:a16="http://schemas.microsoft.com/office/drawing/2014/main" val="2912123191"/>
                    </a:ext>
                  </a:extLst>
                </a:gridCol>
                <a:gridCol w="2076568">
                  <a:extLst>
                    <a:ext uri="{9D8B030D-6E8A-4147-A177-3AD203B41FA5}">
                      <a16:colId xmlns:a16="http://schemas.microsoft.com/office/drawing/2014/main" val="1862943711"/>
                    </a:ext>
                  </a:extLst>
                </a:gridCol>
              </a:tblGrid>
              <a:tr h="422898">
                <a:tc>
                  <a:txBody>
                    <a:bodyPr/>
                    <a:lstStyle/>
                    <a:p>
                      <a:r>
                        <a:rPr lang="de-DE" dirty="0"/>
                        <a:t>FRIALOC d1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apping 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9023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123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582992"/>
                  </a:ext>
                </a:extLst>
              </a:tr>
            </a:tbl>
          </a:graphicData>
        </a:graphic>
      </p:graphicFrame>
      <p:pic>
        <p:nvPicPr>
          <p:cNvPr id="13" name="Picture 3" descr="HPIM0578">
            <a:extLst>
              <a:ext uri="{FF2B5EF4-FFF2-40B4-BE49-F238E27FC236}">
                <a16:creationId xmlns:a16="http://schemas.microsoft.com/office/drawing/2014/main" id="{BD50D4D4-8EAD-2D76-A2AD-AE9F3126C3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1393"/>
            <a:ext cx="12192000" cy="575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751F2C-75D9-4E99-4860-70F6ADFF8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96536B-47BD-6CDD-9A94-ECA1C817C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5760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5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0169 4.81481E-6 L -0.35169 4.81481E-6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0104 0.0007 L -0.35104 0.0007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7" grpId="2" animBg="1"/>
      <p:bldP spid="28" grpId="0" animBg="1"/>
      <p:bldP spid="28" grpId="1" animBg="1"/>
      <p:bldP spid="28" grpId="2" animBg="1"/>
      <p:bldP spid="34" grpId="0"/>
      <p:bldP spid="34" grpId="1"/>
      <p:bldP spid="35" grpId="0" animBg="1"/>
      <p:bldP spid="35" grpId="1" animBg="1"/>
      <p:bldP spid="36" grpId="0"/>
      <p:bldP spid="36" grpId="1"/>
      <p:bldP spid="37" grpId="0" animBg="1"/>
      <p:bldP spid="37" grpId="1" animBg="1"/>
      <p:bldP spid="38" grpId="0"/>
      <p:bldP spid="38" grpId="1"/>
      <p:bldP spid="43" grpId="0" animBg="1"/>
      <p:bldP spid="45" grpId="0"/>
      <p:bldP spid="4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1FA99-B197-4F59-9E53-3DAA2C0102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01" imgH="502" progId="TCLayout.ActiveDocument.1">
                  <p:embed/>
                </p:oleObj>
              </mc:Choice>
              <mc:Fallback>
                <p:oleObj name="think-cell Folie" r:id="rId5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1FA99-B197-4F59-9E53-3DAA2C010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91E99E92-8378-48DA-BE80-7318D4FD3A2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D7E03-9B61-419A-83E7-EC6B1122D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119070"/>
            <a:ext cx="5455724" cy="950786"/>
          </a:xfrm>
        </p:spPr>
        <p:txBody>
          <a:bodyPr/>
          <a:lstStyle/>
          <a:p>
            <a:r>
              <a:rPr lang="en-GB" sz="3200" b="0" dirty="0">
                <a:solidFill>
                  <a:srgbClr val="32AAFF"/>
                </a:solidFill>
              </a:rPr>
              <a:t>Relining </a:t>
            </a:r>
            <a:r>
              <a:rPr lang="hu-HU" sz="3200" b="0" dirty="0">
                <a:solidFill>
                  <a:srgbClr val="32AAFF"/>
                </a:solidFill>
              </a:rPr>
              <a:t>kötéstechnológia előadás</a:t>
            </a:r>
            <a:br>
              <a:rPr lang="en-GB" sz="3200" dirty="0">
                <a:solidFill>
                  <a:srgbClr val="32AAFF"/>
                </a:solidFill>
              </a:rPr>
            </a:br>
            <a:br>
              <a:rPr lang="en-GB" sz="3200" dirty="0">
                <a:solidFill>
                  <a:srgbClr val="32AAFF"/>
                </a:solidFill>
              </a:rPr>
            </a:br>
            <a:br>
              <a:rPr lang="en-GB" sz="3200" dirty="0">
                <a:solidFill>
                  <a:srgbClr val="32AAFF"/>
                </a:solidFill>
              </a:rPr>
            </a:br>
            <a:r>
              <a:rPr lang="en-GB" sz="3200" dirty="0">
                <a:solidFill>
                  <a:srgbClr val="32AAFF"/>
                </a:solidFill>
              </a:rPr>
              <a:t>Agenda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8F14D1-9006-4818-A528-3B0B76070E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26752" y="1326846"/>
            <a:ext cx="10800000" cy="457636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869E584B-44D3-4749-9F4E-98D09DB81C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Deutschland  |  FRIATEC  | 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nfrastructu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 I  Agriapipe Conference 01-25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A344728-FAD7-C6A2-C274-394117D04B32}"/>
              </a:ext>
            </a:extLst>
          </p:cNvPr>
          <p:cNvSpPr txBox="1"/>
          <p:nvPr/>
        </p:nvSpPr>
        <p:spPr>
          <a:xfrm>
            <a:off x="23442" y="2594660"/>
            <a:ext cx="555463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hu-HU" sz="1600" dirty="0">
                <a:solidFill>
                  <a:srgbClr val="7E7E7E"/>
                </a:solidFill>
              </a:rPr>
              <a:t>PE-HD alapanyagú </a:t>
            </a:r>
            <a:r>
              <a:rPr lang="hu-HU" sz="1600" dirty="0" err="1">
                <a:solidFill>
                  <a:srgbClr val="7E7E7E"/>
                </a:solidFill>
              </a:rPr>
              <a:t>relining</a:t>
            </a:r>
            <a:r>
              <a:rPr lang="hu-HU" sz="1600" dirty="0">
                <a:solidFill>
                  <a:srgbClr val="7E7E7E"/>
                </a:solidFill>
              </a:rPr>
              <a:t> csövek kötéstechnológiája</a:t>
            </a:r>
            <a:endParaRPr lang="de-DE" sz="1600" dirty="0">
              <a:solidFill>
                <a:srgbClr val="7E7E7E"/>
              </a:solidFill>
            </a:endParaRPr>
          </a:p>
          <a:p>
            <a:pPr marL="285750" indent="-285750">
              <a:buFontTx/>
              <a:buChar char="-"/>
            </a:pPr>
            <a:endParaRPr lang="de-DE" sz="1600" dirty="0">
              <a:solidFill>
                <a:srgbClr val="7E7E7E"/>
              </a:solidFill>
            </a:endParaRPr>
          </a:p>
          <a:p>
            <a:pPr marL="285750" indent="-285750">
              <a:buFontTx/>
              <a:buChar char="-"/>
            </a:pPr>
            <a:r>
              <a:rPr lang="de-DE" sz="1600" b="1" dirty="0" err="1">
                <a:solidFill>
                  <a:srgbClr val="7E7E7E"/>
                </a:solidFill>
              </a:rPr>
              <a:t>FixBloc</a:t>
            </a:r>
            <a:r>
              <a:rPr lang="de-DE" sz="1600" b="1" dirty="0">
                <a:solidFill>
                  <a:srgbClr val="7E7E7E"/>
                </a:solidFill>
              </a:rPr>
              <a:t>: </a:t>
            </a:r>
            <a:r>
              <a:rPr lang="de-DE" sz="1600" b="1" dirty="0" err="1">
                <a:solidFill>
                  <a:srgbClr val="7E7E7E"/>
                </a:solidFill>
              </a:rPr>
              <a:t>axiális</a:t>
            </a:r>
            <a:r>
              <a:rPr lang="de-DE" sz="1600" b="1" dirty="0">
                <a:solidFill>
                  <a:srgbClr val="7E7E7E"/>
                </a:solidFill>
              </a:rPr>
              <a:t> </a:t>
            </a:r>
            <a:r>
              <a:rPr lang="hu-HU" sz="1600" b="1" dirty="0">
                <a:solidFill>
                  <a:srgbClr val="7E7E7E"/>
                </a:solidFill>
              </a:rPr>
              <a:t>kötés</a:t>
            </a:r>
            <a:r>
              <a:rPr lang="de-DE" sz="1600" b="1" dirty="0">
                <a:solidFill>
                  <a:srgbClr val="7E7E7E"/>
                </a:solidFill>
              </a:rPr>
              <a:t>- és </a:t>
            </a:r>
            <a:r>
              <a:rPr lang="hu-HU" sz="1600" b="1" dirty="0">
                <a:solidFill>
                  <a:srgbClr val="7E7E7E"/>
                </a:solidFill>
              </a:rPr>
              <a:t>szakítóerők kiküszöbölésére</a:t>
            </a:r>
          </a:p>
          <a:p>
            <a:pPr marL="285750" indent="-285750">
              <a:buFontTx/>
              <a:buChar char="-"/>
            </a:pPr>
            <a:endParaRPr lang="de-DE" sz="1600" dirty="0">
              <a:solidFill>
                <a:srgbClr val="7E7E7E"/>
              </a:solidFill>
            </a:endParaRPr>
          </a:p>
          <a:p>
            <a:pPr marL="285750" indent="-285750">
              <a:buFontTx/>
              <a:buChar char="-"/>
            </a:pPr>
            <a:r>
              <a:rPr lang="de-DE" sz="1600" dirty="0" err="1">
                <a:solidFill>
                  <a:srgbClr val="7E7E7E"/>
                </a:solidFill>
              </a:rPr>
              <a:t>Házi</a:t>
            </a:r>
            <a:r>
              <a:rPr lang="de-DE" sz="1600" dirty="0">
                <a:solidFill>
                  <a:srgbClr val="7E7E7E"/>
                </a:solidFill>
              </a:rPr>
              <a:t> </a:t>
            </a:r>
            <a:r>
              <a:rPr lang="de-DE" sz="1600" dirty="0" err="1">
                <a:solidFill>
                  <a:srgbClr val="7E7E7E"/>
                </a:solidFill>
              </a:rPr>
              <a:t>bekötések</a:t>
            </a:r>
            <a:r>
              <a:rPr lang="de-DE" sz="1600" dirty="0">
                <a:solidFill>
                  <a:srgbClr val="7E7E7E"/>
                </a:solidFill>
              </a:rPr>
              <a:t> HD-PE </a:t>
            </a:r>
            <a:r>
              <a:rPr lang="de-DE" sz="1600" dirty="0" err="1">
                <a:solidFill>
                  <a:srgbClr val="7E7E7E"/>
                </a:solidFill>
              </a:rPr>
              <a:t>relining</a:t>
            </a:r>
            <a:r>
              <a:rPr lang="de-DE" sz="1600" dirty="0">
                <a:solidFill>
                  <a:srgbClr val="7E7E7E"/>
                </a:solidFill>
              </a:rPr>
              <a:t> </a:t>
            </a:r>
            <a:r>
              <a:rPr lang="de-DE" sz="1600" dirty="0" err="1">
                <a:solidFill>
                  <a:srgbClr val="7E7E7E"/>
                </a:solidFill>
              </a:rPr>
              <a:t>csövekhez</a:t>
            </a:r>
            <a:r>
              <a:rPr lang="de-DE" sz="1600" dirty="0">
                <a:solidFill>
                  <a:srgbClr val="7E7E7E"/>
                </a:solidFill>
              </a:rPr>
              <a:t> DAA </a:t>
            </a:r>
            <a:r>
              <a:rPr lang="de-DE" sz="1600" dirty="0" err="1">
                <a:solidFill>
                  <a:srgbClr val="7E7E7E"/>
                </a:solidFill>
              </a:rPr>
              <a:t>nyomásalatti</a:t>
            </a:r>
            <a:r>
              <a:rPr lang="de-DE" sz="1600" dirty="0">
                <a:solidFill>
                  <a:srgbClr val="7E7E7E"/>
                </a:solidFill>
              </a:rPr>
              <a:t> </a:t>
            </a:r>
            <a:r>
              <a:rPr lang="de-DE" sz="1600" dirty="0" err="1">
                <a:solidFill>
                  <a:srgbClr val="7E7E7E"/>
                </a:solidFill>
              </a:rPr>
              <a:t>megfúró</a:t>
            </a:r>
            <a:r>
              <a:rPr lang="de-DE" sz="1600" dirty="0">
                <a:solidFill>
                  <a:srgbClr val="7E7E7E"/>
                </a:solidFill>
              </a:rPr>
              <a:t> </a:t>
            </a:r>
            <a:r>
              <a:rPr lang="de-DE" sz="1600" dirty="0" err="1">
                <a:solidFill>
                  <a:srgbClr val="7E7E7E"/>
                </a:solidFill>
              </a:rPr>
              <a:t>nyeregidommal</a:t>
            </a:r>
            <a:r>
              <a:rPr lang="de-DE" sz="1600" dirty="0">
                <a:solidFill>
                  <a:srgbClr val="7E7E7E"/>
                </a:solidFill>
              </a:rPr>
              <a:t> és DAV </a:t>
            </a:r>
            <a:r>
              <a:rPr lang="de-DE" sz="1600" dirty="0" err="1">
                <a:solidFill>
                  <a:srgbClr val="7E7E7E"/>
                </a:solidFill>
              </a:rPr>
              <a:t>nyomás</a:t>
            </a:r>
            <a:r>
              <a:rPr lang="de-DE" sz="1600" dirty="0">
                <a:solidFill>
                  <a:srgbClr val="7E7E7E"/>
                </a:solidFill>
              </a:rPr>
              <a:t> </a:t>
            </a:r>
            <a:r>
              <a:rPr lang="de-DE" sz="1600" dirty="0" err="1">
                <a:solidFill>
                  <a:srgbClr val="7E7E7E"/>
                </a:solidFill>
              </a:rPr>
              <a:t>alatt</a:t>
            </a:r>
            <a:r>
              <a:rPr lang="de-DE" sz="1600" dirty="0">
                <a:solidFill>
                  <a:srgbClr val="7E7E7E"/>
                </a:solidFill>
              </a:rPr>
              <a:t> </a:t>
            </a:r>
            <a:r>
              <a:rPr lang="de-DE" sz="1600" dirty="0" err="1">
                <a:solidFill>
                  <a:srgbClr val="7E7E7E"/>
                </a:solidFill>
              </a:rPr>
              <a:t>megfúró</a:t>
            </a:r>
            <a:r>
              <a:rPr lang="de-DE" sz="1600" dirty="0">
                <a:solidFill>
                  <a:srgbClr val="7E7E7E"/>
                </a:solidFill>
              </a:rPr>
              <a:t> </a:t>
            </a:r>
            <a:r>
              <a:rPr lang="de-DE" sz="1600" dirty="0" err="1">
                <a:solidFill>
                  <a:srgbClr val="7E7E7E"/>
                </a:solidFill>
              </a:rPr>
              <a:t>szeleppel</a:t>
            </a:r>
            <a:endParaRPr lang="hu-HU" sz="1600" dirty="0">
              <a:solidFill>
                <a:srgbClr val="7E7E7E"/>
              </a:solidFill>
            </a:endParaRPr>
          </a:p>
          <a:p>
            <a:pPr marL="285750" indent="-285750">
              <a:buFontTx/>
              <a:buChar char="-"/>
            </a:pPr>
            <a:endParaRPr lang="de-DE" sz="1600" dirty="0">
              <a:solidFill>
                <a:srgbClr val="7E7E7E"/>
              </a:solidFill>
            </a:endParaRPr>
          </a:p>
          <a:p>
            <a:pPr marL="285750" indent="-285750">
              <a:buFontTx/>
              <a:buChar char="-"/>
            </a:pPr>
            <a:r>
              <a:rPr lang="hu-HU" sz="1600" dirty="0">
                <a:solidFill>
                  <a:srgbClr val="7E7E7E"/>
                </a:solidFill>
              </a:rPr>
              <a:t>Nagy átmérőjű leágazások SA UNI leágazó idommal nyomásmentes és nyomás alatti csővezetékekhez</a:t>
            </a:r>
          </a:p>
          <a:p>
            <a:pPr marL="285750" indent="-285750">
              <a:buFontTx/>
              <a:buChar char="-"/>
            </a:pPr>
            <a:endParaRPr lang="de-DE" sz="1600" dirty="0">
              <a:solidFill>
                <a:srgbClr val="7E7E7E"/>
              </a:solidFill>
            </a:endParaRPr>
          </a:p>
          <a:p>
            <a:pPr marL="285750" indent="-285750">
              <a:buFontTx/>
              <a:buChar char="-"/>
            </a:pPr>
            <a:r>
              <a:rPr lang="hu-HU" sz="1600" dirty="0">
                <a:solidFill>
                  <a:srgbClr val="7E7E7E"/>
                </a:solidFill>
              </a:rPr>
              <a:t>Kérdések és válaszok</a:t>
            </a:r>
            <a:endParaRPr lang="de-DE" sz="1600" dirty="0">
              <a:solidFill>
                <a:srgbClr val="7E7E7E"/>
              </a:solidFill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0C09F31F-0AE5-F205-74BE-F41167A9DF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B18487B7-B4FD-265A-8EDF-ED70FE468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3</a:t>
            </a:fld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955BE6E-63EB-7353-CFCB-50FCD8BDA6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157" y="1111375"/>
            <a:ext cx="1470943" cy="86726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A974CBC-8DEE-0BAB-DC34-984515CE2E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73492" y="1326846"/>
            <a:ext cx="2293819" cy="480102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A5A8336-AB12-C80D-266E-77F657F482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23741" y="0"/>
            <a:ext cx="61682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427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48BD1DA1-CC4F-4B80-BFED-DD7F5D7F5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 dirty="0">
                <a:solidFill>
                  <a:srgbClr val="32AAFF"/>
                </a:solidFill>
              </a:rPr>
              <a:t>SA UNI </a:t>
            </a:r>
            <a:r>
              <a:rPr lang="de-DE" dirty="0" err="1">
                <a:solidFill>
                  <a:srgbClr val="32AAFF"/>
                </a:solidFill>
              </a:rPr>
              <a:t>nyomás</a:t>
            </a:r>
            <a:r>
              <a:rPr lang="de-DE" dirty="0">
                <a:solidFill>
                  <a:srgbClr val="32AAFF"/>
                </a:solidFill>
              </a:rPr>
              <a:t> </a:t>
            </a:r>
            <a:r>
              <a:rPr lang="de-DE" dirty="0" err="1">
                <a:solidFill>
                  <a:srgbClr val="32AAFF"/>
                </a:solidFill>
              </a:rPr>
              <a:t>alatti</a:t>
            </a:r>
            <a:r>
              <a:rPr lang="de-DE" dirty="0">
                <a:solidFill>
                  <a:srgbClr val="32AAFF"/>
                </a:solidFill>
              </a:rPr>
              <a:t> </a:t>
            </a:r>
            <a:r>
              <a:rPr lang="de-DE" dirty="0" err="1">
                <a:solidFill>
                  <a:srgbClr val="32AAFF"/>
                </a:solidFill>
              </a:rPr>
              <a:t>leágazás</a:t>
            </a:r>
            <a:r>
              <a:rPr lang="de-DE" dirty="0">
                <a:solidFill>
                  <a:srgbClr val="32AAFF"/>
                </a:solidFill>
              </a:rPr>
              <a:t> </a:t>
            </a:r>
            <a:r>
              <a:rPr lang="de-DE" dirty="0" err="1">
                <a:solidFill>
                  <a:srgbClr val="32AAFF"/>
                </a:solidFill>
              </a:rPr>
              <a:t>kivitelzése</a:t>
            </a:r>
            <a:r>
              <a:rPr lang="de-DE" dirty="0">
                <a:solidFill>
                  <a:srgbClr val="32AAFF"/>
                </a:solidFill>
              </a:rPr>
              <a:t> </a:t>
            </a:r>
            <a:r>
              <a:rPr lang="de-DE" dirty="0" err="1">
                <a:solidFill>
                  <a:srgbClr val="32AAFF"/>
                </a:solidFill>
              </a:rPr>
              <a:t>gyorsan</a:t>
            </a:r>
            <a:r>
              <a:rPr lang="de-DE" dirty="0">
                <a:solidFill>
                  <a:srgbClr val="32AAFF"/>
                </a:solidFill>
              </a:rPr>
              <a:t> és </a:t>
            </a:r>
            <a:r>
              <a:rPr lang="de-DE" dirty="0" err="1">
                <a:solidFill>
                  <a:srgbClr val="32AAFF"/>
                </a:solidFill>
              </a:rPr>
              <a:t>könnyen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818004-41DE-4522-94A4-BBEF2D4294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B51D3B84-8B0D-4E8F-94A2-79577C9512AE}"/>
              </a:ext>
            </a:extLst>
          </p:cNvPr>
          <p:cNvSpPr txBox="1"/>
          <p:nvPr/>
        </p:nvSpPr>
        <p:spPr>
          <a:xfrm>
            <a:off x="363011" y="809414"/>
            <a:ext cx="110882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32AA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erfect</a:t>
            </a:r>
            <a:r>
              <a:rPr kumimoji="0" lang="hu-HU" sz="2000" b="1" i="0" u="none" strike="noStrike" kern="1200" cap="none" spc="0" normalizeH="0" baseline="0" noProof="0" dirty="0">
                <a:ln>
                  <a:noFill/>
                </a:ln>
                <a:solidFill>
                  <a:srgbClr val="32AA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3 készülék – használata gyors és könnyű a nyomás alatti leágazás elkészítéséhez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32AA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5A7071E-1504-43FE-8E93-177DAD0E24A6}"/>
              </a:ext>
            </a:extLst>
          </p:cNvPr>
          <p:cNvSpPr txBox="1"/>
          <p:nvPr/>
        </p:nvSpPr>
        <p:spPr>
          <a:xfrm>
            <a:off x="7831596" y="431451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</a:t>
            </a:r>
          </a:p>
        </p:txBody>
      </p:sp>
      <p:cxnSp>
        <p:nvCxnSpPr>
          <p:cNvPr id="37" name="Gerade Verbindung 16">
            <a:extLst>
              <a:ext uri="{FF2B5EF4-FFF2-40B4-BE49-F238E27FC236}">
                <a16:creationId xmlns:a16="http://schemas.microsoft.com/office/drawing/2014/main" id="{629D47EC-CB49-4273-A2BF-A9643F95C89E}"/>
              </a:ext>
            </a:extLst>
          </p:cNvPr>
          <p:cNvCxnSpPr/>
          <p:nvPr/>
        </p:nvCxnSpPr>
        <p:spPr>
          <a:xfrm flipV="1">
            <a:off x="8188527" y="4128310"/>
            <a:ext cx="433974" cy="27891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5">
            <a:extLst>
              <a:ext uri="{FF2B5EF4-FFF2-40B4-BE49-F238E27FC236}">
                <a16:creationId xmlns:a16="http://schemas.microsoft.com/office/drawing/2014/main" id="{16208A48-FFB6-4B40-9DFB-E53C5C4FCCFA}"/>
              </a:ext>
            </a:extLst>
          </p:cNvPr>
          <p:cNvGrpSpPr>
            <a:grpSpLocks/>
          </p:cNvGrpSpPr>
          <p:nvPr/>
        </p:nvGrpSpPr>
        <p:grpSpPr bwMode="auto">
          <a:xfrm>
            <a:off x="450850" y="1565403"/>
            <a:ext cx="7799925" cy="3091736"/>
            <a:chOff x="8" y="653"/>
            <a:chExt cx="5140" cy="2262"/>
          </a:xfrm>
        </p:grpSpPr>
        <p:pic>
          <p:nvPicPr>
            <p:cNvPr id="16" name="Picture 6" descr="image1">
              <a:extLst>
                <a:ext uri="{FF2B5EF4-FFF2-40B4-BE49-F238E27FC236}">
                  <a16:creationId xmlns:a16="http://schemas.microsoft.com/office/drawing/2014/main" id="{78F9A6BF-1B6C-4C17-9478-F050BD7483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" y="687"/>
              <a:ext cx="5125" cy="2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Text Box 7">
              <a:extLst>
                <a:ext uri="{FF2B5EF4-FFF2-40B4-BE49-F238E27FC236}">
                  <a16:creationId xmlns:a16="http://schemas.microsoft.com/office/drawing/2014/main" id="{4EC9970B-3BA9-4D40-AFAC-6EAAED0AF8E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7" y="687"/>
              <a:ext cx="472" cy="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cutter</a:t>
              </a:r>
            </a:p>
          </p:txBody>
        </p:sp>
        <p:sp>
          <p:nvSpPr>
            <p:cNvPr id="22" name="Text Box 8">
              <a:extLst>
                <a:ext uri="{FF2B5EF4-FFF2-40B4-BE49-F238E27FC236}">
                  <a16:creationId xmlns:a16="http://schemas.microsoft.com/office/drawing/2014/main" id="{7809EB2B-6AED-4191-8274-1AD0FC5764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92" y="687"/>
              <a:ext cx="1201" cy="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clamping unit</a:t>
              </a:r>
              <a:r>
                <a:rPr kumimoji="0" lang="de-DE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 Black" pitchFamily="34" charset="0"/>
                  <a:ea typeface="+mn-ea"/>
                  <a:cs typeface="+mn-cs"/>
                </a:rPr>
                <a:t>       </a:t>
              </a:r>
            </a:p>
          </p:txBody>
        </p:sp>
        <p:sp>
          <p:nvSpPr>
            <p:cNvPr id="23" name="Text Box 9">
              <a:extLst>
                <a:ext uri="{FF2B5EF4-FFF2-40B4-BE49-F238E27FC236}">
                  <a16:creationId xmlns:a16="http://schemas.microsoft.com/office/drawing/2014/main" id="{FA5049DF-4A0E-4E0B-BB74-D3820C0874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8" y="2069"/>
              <a:ext cx="483" cy="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rod</a:t>
              </a:r>
              <a:r>
                <a:rPr kumimoji="0" lang="de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    </a:t>
              </a:r>
            </a:p>
          </p:txBody>
        </p:sp>
        <p:sp>
          <p:nvSpPr>
            <p:cNvPr id="24" name="Text Box 10">
              <a:extLst>
                <a:ext uri="{FF2B5EF4-FFF2-40B4-BE49-F238E27FC236}">
                  <a16:creationId xmlns:a16="http://schemas.microsoft.com/office/drawing/2014/main" id="{96338F40-EDE6-4DF1-9097-7369F09C30E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10" y="2069"/>
              <a:ext cx="1015" cy="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ventilation unit</a:t>
              </a:r>
            </a:p>
          </p:txBody>
        </p:sp>
        <p:sp>
          <p:nvSpPr>
            <p:cNvPr id="25" name="Text Box 11">
              <a:extLst>
                <a:ext uri="{FF2B5EF4-FFF2-40B4-BE49-F238E27FC236}">
                  <a16:creationId xmlns:a16="http://schemas.microsoft.com/office/drawing/2014/main" id="{AF4EB7DF-A6B2-4045-9858-91C74C23209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6" y="653"/>
              <a:ext cx="1432" cy="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feed</a:t>
              </a:r>
              <a:r>
                <a:rPr kumimoji="0" lang="de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 </a:t>
              </a:r>
              <a:r>
                <a:rPr kumimoji="0" lang="de-DE" alt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unit</a:t>
              </a:r>
              <a:r>
                <a:rPr kumimoji="0" lang="de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                   </a:t>
              </a:r>
            </a:p>
          </p:txBody>
        </p:sp>
        <p:sp>
          <p:nvSpPr>
            <p:cNvPr id="26" name="Text Box 12">
              <a:extLst>
                <a:ext uri="{FF2B5EF4-FFF2-40B4-BE49-F238E27FC236}">
                  <a16:creationId xmlns:a16="http://schemas.microsoft.com/office/drawing/2014/main" id="{9BCC027F-A44B-4B7D-B017-719F01E9A7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42" y="2690"/>
              <a:ext cx="1241" cy="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installation wrench</a:t>
              </a:r>
            </a:p>
          </p:txBody>
        </p:sp>
      </p:grpSp>
      <p:pic>
        <p:nvPicPr>
          <p:cNvPr id="27" name="Picture 13" descr="image1">
            <a:extLst>
              <a:ext uri="{FF2B5EF4-FFF2-40B4-BE49-F238E27FC236}">
                <a16:creationId xmlns:a16="http://schemas.microsoft.com/office/drawing/2014/main" id="{4319F2E3-91FF-43B9-A9D6-84A23678AB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0" y="3805668"/>
            <a:ext cx="4287881" cy="2323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4FAE9E7-7738-EF09-25B7-B63E8B6A94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1062071-4B12-4876-AA30-BB4913E93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3322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D84C341-FA99-44FD-9362-C0327A4B2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B0F0"/>
                </a:solidFill>
              </a:rPr>
              <a:t>D710 mm/ d 250 mm SA VL </a:t>
            </a:r>
            <a:r>
              <a:rPr lang="de-DE" dirty="0" err="1">
                <a:solidFill>
                  <a:srgbClr val="00B0F0"/>
                </a:solidFill>
              </a:rPr>
              <a:t>leágazás</a:t>
            </a:r>
            <a:r>
              <a:rPr lang="de-DE" dirty="0">
                <a:solidFill>
                  <a:srgbClr val="00B0F0"/>
                </a:solidFill>
              </a:rPr>
              <a:t> </a:t>
            </a:r>
            <a:r>
              <a:rPr lang="de-DE" dirty="0" err="1">
                <a:solidFill>
                  <a:srgbClr val="00B0F0"/>
                </a:solidFill>
              </a:rPr>
              <a:t>karimás</a:t>
            </a:r>
            <a:r>
              <a:rPr lang="de-DE" dirty="0">
                <a:solidFill>
                  <a:srgbClr val="00B0F0"/>
                </a:solidFill>
              </a:rPr>
              <a:t> </a:t>
            </a:r>
            <a:r>
              <a:rPr lang="de-DE" dirty="0" err="1">
                <a:solidFill>
                  <a:srgbClr val="00B0F0"/>
                </a:solidFill>
              </a:rPr>
              <a:t>csatlakozással</a:t>
            </a:r>
            <a:endParaRPr lang="de-DE" dirty="0">
              <a:solidFill>
                <a:srgbClr val="00B0F0"/>
              </a:solidFill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EF526D-F498-4EB2-A08E-54C76FA832E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6" y="1476000"/>
            <a:ext cx="5162934" cy="4669200"/>
          </a:xfrm>
        </p:spPr>
        <p:txBody>
          <a:bodyPr/>
          <a:lstStyle/>
          <a:p>
            <a:r>
              <a:rPr lang="de-DE" b="1" dirty="0"/>
              <a:t>A </a:t>
            </a:r>
            <a:r>
              <a:rPr lang="de-DE" b="1" dirty="0" err="1"/>
              <a:t>kivitelezést</a:t>
            </a:r>
            <a:r>
              <a:rPr lang="de-DE" b="1" dirty="0"/>
              <a:t> a Siers </a:t>
            </a:r>
            <a:r>
              <a:rPr lang="de-DE" b="1" dirty="0" err="1"/>
              <a:t>céggel</a:t>
            </a:r>
            <a:r>
              <a:rPr lang="de-DE" b="1" dirty="0"/>
              <a:t> </a:t>
            </a:r>
            <a:r>
              <a:rPr lang="de-DE" b="1" dirty="0" err="1"/>
              <a:t>közösen</a:t>
            </a:r>
            <a:r>
              <a:rPr lang="de-DE" b="1" dirty="0"/>
              <a:t> </a:t>
            </a:r>
            <a:r>
              <a:rPr lang="de-DE" b="1" dirty="0" err="1"/>
              <a:t>végeztük</a:t>
            </a:r>
            <a:r>
              <a:rPr lang="de-DE" b="1" dirty="0"/>
              <a:t>:</a:t>
            </a:r>
          </a:p>
          <a:p>
            <a:endParaRPr lang="de-DE" dirty="0"/>
          </a:p>
          <a:p>
            <a:r>
              <a:rPr lang="de-DE" dirty="0"/>
              <a:t>A </a:t>
            </a:r>
            <a:r>
              <a:rPr lang="de-DE" dirty="0" err="1"/>
              <a:t>leágazás</a:t>
            </a:r>
            <a:r>
              <a:rPr lang="de-DE" dirty="0"/>
              <a:t> </a:t>
            </a:r>
            <a:r>
              <a:rPr lang="de-DE" dirty="0" err="1"/>
              <a:t>felhegesztésének</a:t>
            </a:r>
            <a:r>
              <a:rPr lang="de-DE" dirty="0"/>
              <a:t> </a:t>
            </a:r>
            <a:r>
              <a:rPr lang="de-DE" dirty="0" err="1"/>
              <a:t>elkészítése</a:t>
            </a:r>
            <a:r>
              <a:rPr lang="de-DE" dirty="0"/>
              <a:t> 5 </a:t>
            </a:r>
            <a:r>
              <a:rPr lang="de-DE" dirty="0" err="1"/>
              <a:t>percet</a:t>
            </a:r>
            <a:r>
              <a:rPr lang="de-DE" dirty="0"/>
              <a:t> </a:t>
            </a:r>
            <a:r>
              <a:rPr lang="de-DE" dirty="0" err="1"/>
              <a:t>vett</a:t>
            </a:r>
            <a:r>
              <a:rPr lang="de-DE" dirty="0"/>
              <a:t> </a:t>
            </a:r>
            <a:r>
              <a:rPr lang="de-DE" dirty="0" err="1"/>
              <a:t>igénybe</a:t>
            </a:r>
            <a:r>
              <a:rPr lang="de-DE" dirty="0"/>
              <a:t>.</a:t>
            </a:r>
          </a:p>
          <a:p>
            <a:r>
              <a:rPr lang="de-DE" dirty="0"/>
              <a:t>A </a:t>
            </a:r>
            <a:r>
              <a:rPr lang="de-DE" dirty="0" err="1"/>
              <a:t>hegesztés</a:t>
            </a:r>
            <a:r>
              <a:rPr lang="de-DE" dirty="0"/>
              <a:t> </a:t>
            </a:r>
            <a:r>
              <a:rPr lang="de-DE" dirty="0" err="1"/>
              <a:t>után</a:t>
            </a:r>
            <a:r>
              <a:rPr lang="de-DE" dirty="0"/>
              <a:t> a </a:t>
            </a:r>
            <a:r>
              <a:rPr lang="de-DE" dirty="0" err="1"/>
              <a:t>fővezetéket</a:t>
            </a:r>
            <a:r>
              <a:rPr lang="de-DE" dirty="0"/>
              <a:t> </a:t>
            </a:r>
            <a:r>
              <a:rPr lang="de-DE" dirty="0" err="1"/>
              <a:t>kiszellőztették</a:t>
            </a:r>
            <a:r>
              <a:rPr lang="de-DE" dirty="0"/>
              <a:t>, a </a:t>
            </a:r>
            <a:r>
              <a:rPr lang="de-DE" dirty="0" err="1"/>
              <a:t>megfúró</a:t>
            </a:r>
            <a:r>
              <a:rPr lang="de-DE" dirty="0"/>
              <a:t> </a:t>
            </a:r>
            <a:r>
              <a:rPr lang="de-DE" dirty="0" err="1"/>
              <a:t>szerszámot</a:t>
            </a:r>
            <a:r>
              <a:rPr lang="de-DE" dirty="0"/>
              <a:t> </a:t>
            </a:r>
            <a:r>
              <a:rPr lang="de-DE" dirty="0" err="1"/>
              <a:t>átvezették</a:t>
            </a:r>
            <a:r>
              <a:rPr lang="de-DE" dirty="0"/>
              <a:t> a </a:t>
            </a:r>
            <a:r>
              <a:rPr lang="de-DE" dirty="0" err="1"/>
              <a:t>elzárószerelvényen</a:t>
            </a:r>
            <a:r>
              <a:rPr lang="de-DE" dirty="0"/>
              <a:t>, </a:t>
            </a:r>
            <a:r>
              <a:rPr lang="de-DE" dirty="0" err="1"/>
              <a:t>megfúrták</a:t>
            </a:r>
            <a:r>
              <a:rPr lang="de-DE" dirty="0"/>
              <a:t> a </a:t>
            </a:r>
            <a:r>
              <a:rPr lang="de-DE" dirty="0" err="1"/>
              <a:t>fővezetéket</a:t>
            </a:r>
            <a:r>
              <a:rPr lang="de-DE" dirty="0"/>
              <a:t>.</a:t>
            </a:r>
          </a:p>
          <a:p>
            <a:r>
              <a:rPr lang="de-DE" dirty="0"/>
              <a:t>A </a:t>
            </a:r>
            <a:r>
              <a:rPr lang="de-DE" dirty="0" err="1"/>
              <a:t>megfúrás</a:t>
            </a:r>
            <a:r>
              <a:rPr lang="de-DE" dirty="0"/>
              <a:t> </a:t>
            </a:r>
            <a:r>
              <a:rPr lang="de-DE" dirty="0" err="1"/>
              <a:t>után</a:t>
            </a:r>
            <a:r>
              <a:rPr lang="de-DE" dirty="0"/>
              <a:t> a </a:t>
            </a:r>
            <a:r>
              <a:rPr lang="de-DE" dirty="0" err="1"/>
              <a:t>szerszámot</a:t>
            </a:r>
            <a:r>
              <a:rPr lang="de-DE" dirty="0"/>
              <a:t> </a:t>
            </a:r>
            <a:r>
              <a:rPr lang="de-DE" dirty="0" err="1"/>
              <a:t>kihúzták</a:t>
            </a:r>
            <a:r>
              <a:rPr lang="de-DE" dirty="0"/>
              <a:t> és </a:t>
            </a:r>
            <a:r>
              <a:rPr lang="de-DE" dirty="0" err="1"/>
              <a:t>elzárták</a:t>
            </a:r>
            <a:r>
              <a:rPr lang="de-DE" dirty="0"/>
              <a:t> a</a:t>
            </a:r>
            <a:r>
              <a:rPr lang="hu-HU" dirty="0"/>
              <a:t> </a:t>
            </a:r>
            <a:r>
              <a:rPr lang="de-DE" dirty="0" err="1"/>
              <a:t>tolózárat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B270CC-6ECA-451F-B305-3F0C2036D8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8038" y="1523987"/>
            <a:ext cx="2748406" cy="462121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8F03A01-9AF3-4D12-A34B-3CC7114A3D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444" y="1524000"/>
            <a:ext cx="3125580" cy="4621213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E39A167-0109-C3BB-3A0F-24E46B5FA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38472C-387A-2F6A-6384-799F86748C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B1E4047-D41E-983D-201E-D1BEA6333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14521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EF526D-F498-4EB2-A08E-54C76FA832E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6" y="1476000"/>
            <a:ext cx="4235834" cy="4669200"/>
          </a:xfrm>
        </p:spPr>
        <p:txBody>
          <a:bodyPr/>
          <a:lstStyle/>
          <a:p>
            <a:r>
              <a:rPr lang="de-DE" b="1" dirty="0" err="1"/>
              <a:t>Előkészületek</a:t>
            </a:r>
            <a:r>
              <a:rPr lang="de-DE" b="1" dirty="0"/>
              <a:t> a Siers </a:t>
            </a:r>
            <a:endParaRPr lang="hu-HU" b="1" dirty="0"/>
          </a:p>
          <a:p>
            <a:r>
              <a:rPr lang="de-DE" b="1" dirty="0" err="1"/>
              <a:t>építőipari</a:t>
            </a:r>
            <a:r>
              <a:rPr lang="de-DE" b="1" dirty="0"/>
              <a:t> </a:t>
            </a:r>
            <a:r>
              <a:rPr lang="de-DE" b="1" dirty="0" err="1"/>
              <a:t>vállalattal</a:t>
            </a:r>
            <a:r>
              <a:rPr lang="de-DE" b="1" dirty="0"/>
              <a:t> </a:t>
            </a:r>
            <a:r>
              <a:rPr lang="de-DE" b="1" dirty="0" err="1"/>
              <a:t>közösen</a:t>
            </a:r>
            <a:r>
              <a:rPr lang="de-DE" b="1" dirty="0"/>
              <a:t>:</a:t>
            </a:r>
            <a:endParaRPr lang="de-DE" dirty="0"/>
          </a:p>
          <a:p>
            <a:r>
              <a:rPr lang="de-DE" dirty="0"/>
              <a:t>A </a:t>
            </a:r>
            <a:r>
              <a:rPr lang="hu-HU" dirty="0"/>
              <a:t>fúrószerszámot szétszerelték</a:t>
            </a:r>
            <a:r>
              <a:rPr lang="de-DE" dirty="0"/>
              <a:t>, és a </a:t>
            </a:r>
            <a:r>
              <a:rPr lang="de-DE" dirty="0" err="1"/>
              <a:t>csőből</a:t>
            </a:r>
            <a:r>
              <a:rPr lang="de-DE" dirty="0"/>
              <a:t> </a:t>
            </a:r>
            <a:r>
              <a:rPr lang="hu-HU" dirty="0"/>
              <a:t>ki</a:t>
            </a:r>
            <a:r>
              <a:rPr lang="de-DE" dirty="0" err="1"/>
              <a:t>vágott</a:t>
            </a:r>
            <a:r>
              <a:rPr lang="de-DE" dirty="0"/>
              <a:t> </a:t>
            </a:r>
            <a:r>
              <a:rPr lang="de-DE" dirty="0" err="1"/>
              <a:t>darab</a:t>
            </a:r>
            <a:r>
              <a:rPr lang="de-DE" dirty="0"/>
              <a:t> a </a:t>
            </a:r>
            <a:r>
              <a:rPr lang="de-DE" dirty="0" err="1"/>
              <a:t>vágógép</a:t>
            </a:r>
            <a:r>
              <a:rPr lang="hu-HU" dirty="0" err="1"/>
              <a:t>ben</a:t>
            </a:r>
            <a:r>
              <a:rPr lang="hu-HU" dirty="0"/>
              <a:t> van.</a:t>
            </a:r>
            <a:br>
              <a:rPr lang="de-DE" dirty="0"/>
            </a:b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1699FB0-8ADF-4629-9C9D-D40CC88BD08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399" y="1524000"/>
            <a:ext cx="6931799" cy="4621199"/>
          </a:xfrm>
          <a:prstGeom prst="rect">
            <a:avLst/>
          </a:prstGeom>
        </p:spPr>
      </p:pic>
      <p:sp>
        <p:nvSpPr>
          <p:cNvPr id="7" name="Titel 4">
            <a:extLst>
              <a:ext uri="{FF2B5EF4-FFF2-40B4-BE49-F238E27FC236}">
                <a16:creationId xmlns:a16="http://schemas.microsoft.com/office/drawing/2014/main" id="{E8093FF2-464C-B835-E4CD-903A63489E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 dirty="0" err="1">
                <a:solidFill>
                  <a:srgbClr val="00B0F0"/>
                </a:solidFill>
              </a:rPr>
              <a:t>Megfúrás</a:t>
            </a:r>
            <a:r>
              <a:rPr lang="de-DE" dirty="0">
                <a:solidFill>
                  <a:srgbClr val="00B0F0"/>
                </a:solidFill>
              </a:rPr>
              <a:t> d710 mm.es </a:t>
            </a:r>
            <a:r>
              <a:rPr lang="de-DE" dirty="0" err="1">
                <a:solidFill>
                  <a:srgbClr val="00B0F0"/>
                </a:solidFill>
              </a:rPr>
              <a:t>fővezetéken</a:t>
            </a:r>
            <a:r>
              <a:rPr lang="de-DE" dirty="0">
                <a:solidFill>
                  <a:srgbClr val="00B0F0"/>
                </a:solidFill>
              </a:rPr>
              <a:t> d 250 SAVL </a:t>
            </a:r>
            <a:r>
              <a:rPr lang="de-DE" dirty="0" err="1">
                <a:solidFill>
                  <a:srgbClr val="00B0F0"/>
                </a:solidFill>
              </a:rPr>
              <a:t>leágazó</a:t>
            </a:r>
            <a:r>
              <a:rPr lang="de-DE" dirty="0">
                <a:solidFill>
                  <a:srgbClr val="00B0F0"/>
                </a:solidFill>
              </a:rPr>
              <a:t> </a:t>
            </a:r>
            <a:r>
              <a:rPr lang="de-DE" dirty="0" err="1">
                <a:solidFill>
                  <a:srgbClr val="00B0F0"/>
                </a:solidFill>
              </a:rPr>
              <a:t>idommal</a:t>
            </a:r>
            <a:r>
              <a:rPr lang="de-DE" dirty="0">
                <a:solidFill>
                  <a:srgbClr val="00B0F0"/>
                </a:solidFill>
              </a:rPr>
              <a:t> </a:t>
            </a:r>
            <a:r>
              <a:rPr lang="de-DE" dirty="0" err="1">
                <a:solidFill>
                  <a:srgbClr val="00B0F0"/>
                </a:solidFill>
              </a:rPr>
              <a:t>tolózáron</a:t>
            </a:r>
            <a:r>
              <a:rPr lang="de-DE" dirty="0">
                <a:solidFill>
                  <a:srgbClr val="00B0F0"/>
                </a:solidFill>
              </a:rPr>
              <a:t> </a:t>
            </a:r>
            <a:r>
              <a:rPr lang="de-DE" dirty="0" err="1">
                <a:solidFill>
                  <a:srgbClr val="00B0F0"/>
                </a:solidFill>
              </a:rPr>
              <a:t>keresztül</a:t>
            </a:r>
            <a:endParaRPr lang="de-DE" dirty="0">
              <a:solidFill>
                <a:srgbClr val="00B0F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8393200-D4B8-5881-3384-DF029EAB6C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8EECD3A-6012-0228-1FC6-9F4A58D641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690B2F-64FB-0541-BF15-AD799A733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44634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EF526D-F498-4EB2-A08E-54C76FA832E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3166" y="1476000"/>
            <a:ext cx="4540634" cy="4669200"/>
          </a:xfrm>
        </p:spPr>
        <p:txBody>
          <a:bodyPr/>
          <a:lstStyle/>
          <a:p>
            <a:r>
              <a:rPr lang="de-DE" b="1" dirty="0" err="1"/>
              <a:t>Előkészületek</a:t>
            </a:r>
            <a:r>
              <a:rPr lang="de-DE" b="1" dirty="0"/>
              <a:t> a Siers </a:t>
            </a:r>
            <a:r>
              <a:rPr lang="de-DE" b="1" dirty="0" err="1"/>
              <a:t>építőipari</a:t>
            </a:r>
            <a:r>
              <a:rPr lang="de-DE" b="1" dirty="0"/>
              <a:t> </a:t>
            </a:r>
            <a:r>
              <a:rPr lang="de-DE" b="1" dirty="0" err="1"/>
              <a:t>vállalattal</a:t>
            </a:r>
            <a:r>
              <a:rPr lang="de-DE" b="1" dirty="0"/>
              <a:t> </a:t>
            </a:r>
            <a:r>
              <a:rPr lang="de-DE" b="1" dirty="0" err="1"/>
              <a:t>közösen</a:t>
            </a:r>
            <a:r>
              <a:rPr lang="de-DE" b="1" dirty="0"/>
              <a:t>:</a:t>
            </a:r>
          </a:p>
          <a:p>
            <a:r>
              <a:rPr lang="de-DE" dirty="0"/>
              <a:t>A </a:t>
            </a:r>
            <a:r>
              <a:rPr lang="hu-HU" dirty="0"/>
              <a:t>ki</a:t>
            </a:r>
            <a:r>
              <a:rPr lang="de-DE" dirty="0" err="1"/>
              <a:t>vágott</a:t>
            </a:r>
            <a:r>
              <a:rPr lang="de-DE" dirty="0"/>
              <a:t> </a:t>
            </a:r>
            <a:r>
              <a:rPr lang="de-DE" dirty="0" err="1"/>
              <a:t>csődarab</a:t>
            </a:r>
            <a:r>
              <a:rPr lang="de-DE" dirty="0"/>
              <a:t> </a:t>
            </a:r>
            <a:r>
              <a:rPr lang="de-DE" dirty="0" err="1"/>
              <a:t>eltávolítása</a:t>
            </a:r>
            <a:r>
              <a:rPr lang="de-DE" dirty="0"/>
              <a:t> </a:t>
            </a:r>
            <a:r>
              <a:rPr lang="de-DE" dirty="0" err="1"/>
              <a:t>után</a:t>
            </a:r>
            <a:r>
              <a:rPr lang="de-DE" dirty="0"/>
              <a:t> </a:t>
            </a:r>
            <a:r>
              <a:rPr lang="de-DE" dirty="0" err="1"/>
              <a:t>az</a:t>
            </a:r>
            <a:r>
              <a:rPr lang="de-DE" dirty="0"/>
              <a:t> </a:t>
            </a:r>
            <a:r>
              <a:rPr lang="de-DE" dirty="0" err="1"/>
              <a:t>összes</a:t>
            </a:r>
            <a:r>
              <a:rPr lang="de-DE" dirty="0"/>
              <a:t> </a:t>
            </a:r>
            <a:r>
              <a:rPr lang="hu-HU" dirty="0"/>
              <a:t>forgácsot</a:t>
            </a:r>
            <a:r>
              <a:rPr lang="de-DE" dirty="0"/>
              <a:t> a </a:t>
            </a:r>
            <a:r>
              <a:rPr lang="de-DE" dirty="0" err="1"/>
              <a:t>vágógép</a:t>
            </a:r>
            <a:r>
              <a:rPr lang="de-DE" dirty="0"/>
              <a:t> </a:t>
            </a:r>
            <a:r>
              <a:rPr lang="de-DE" dirty="0" err="1"/>
              <a:t>testénél</a:t>
            </a:r>
            <a:r>
              <a:rPr lang="de-DE" dirty="0"/>
              <a:t> </a:t>
            </a:r>
            <a:r>
              <a:rPr lang="de-DE" dirty="0" err="1"/>
              <a:t>fogták</a:t>
            </a:r>
            <a:r>
              <a:rPr lang="de-DE" dirty="0"/>
              <a:t> </a:t>
            </a:r>
            <a:r>
              <a:rPr lang="de-DE" dirty="0" err="1"/>
              <a:t>fel</a:t>
            </a:r>
            <a:r>
              <a:rPr lang="de-DE" dirty="0"/>
              <a:t>.</a:t>
            </a:r>
          </a:p>
          <a:p>
            <a:endParaRPr lang="de-DE" b="1" dirty="0"/>
          </a:p>
          <a:p>
            <a:br>
              <a:rPr lang="de-DE" dirty="0"/>
            </a:b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3D09050-9D79-4CBA-B8F6-527F5B1900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8038" y="1524000"/>
            <a:ext cx="3004950" cy="40547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C6BE596-886E-4CFB-A6E7-E2CBC8E9C6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2264" y="1524001"/>
            <a:ext cx="2399249" cy="405475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FACDF1A-6542-48C5-94CF-13F5CC3174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303" y="2889338"/>
            <a:ext cx="3828101" cy="2689412"/>
          </a:xfrm>
          <a:prstGeom prst="rect">
            <a:avLst/>
          </a:prstGeom>
        </p:spPr>
      </p:pic>
      <p:sp>
        <p:nvSpPr>
          <p:cNvPr id="7" name="Titel 4">
            <a:extLst>
              <a:ext uri="{FF2B5EF4-FFF2-40B4-BE49-F238E27FC236}">
                <a16:creationId xmlns:a16="http://schemas.microsoft.com/office/drawing/2014/main" id="{51B29E28-C13D-A2EF-C80C-74318B337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950786"/>
          </a:xfrm>
        </p:spPr>
        <p:txBody>
          <a:bodyPr/>
          <a:lstStyle/>
          <a:p>
            <a:r>
              <a:rPr lang="de-DE" dirty="0" err="1">
                <a:solidFill>
                  <a:srgbClr val="00B0F0"/>
                </a:solidFill>
              </a:rPr>
              <a:t>Élő</a:t>
            </a:r>
            <a:r>
              <a:rPr lang="de-DE" dirty="0">
                <a:solidFill>
                  <a:srgbClr val="00B0F0"/>
                </a:solidFill>
              </a:rPr>
              <a:t> </a:t>
            </a:r>
            <a:r>
              <a:rPr lang="de-DE" dirty="0" err="1">
                <a:solidFill>
                  <a:srgbClr val="00B0F0"/>
                </a:solidFill>
              </a:rPr>
              <a:t>csapolás</a:t>
            </a:r>
            <a:r>
              <a:rPr lang="de-DE" dirty="0">
                <a:solidFill>
                  <a:srgbClr val="00B0F0"/>
                </a:solidFill>
              </a:rPr>
              <a:t> a d710 / d250SA </a:t>
            </a:r>
            <a:br>
              <a:rPr lang="hu-HU" dirty="0">
                <a:solidFill>
                  <a:srgbClr val="00B0F0"/>
                </a:solidFill>
              </a:rPr>
            </a:br>
            <a:r>
              <a:rPr lang="de-DE" dirty="0">
                <a:solidFill>
                  <a:srgbClr val="00B0F0"/>
                </a:solidFill>
              </a:rPr>
              <a:t>VL </a:t>
            </a:r>
            <a:r>
              <a:rPr lang="de-DE" dirty="0" err="1">
                <a:solidFill>
                  <a:srgbClr val="00B0F0"/>
                </a:solidFill>
              </a:rPr>
              <a:t>főegységen</a:t>
            </a:r>
            <a:r>
              <a:rPr lang="de-DE" dirty="0">
                <a:solidFill>
                  <a:srgbClr val="00B0F0"/>
                </a:solidFill>
              </a:rPr>
              <a:t> </a:t>
            </a:r>
            <a:r>
              <a:rPr lang="de-DE" dirty="0" err="1">
                <a:solidFill>
                  <a:srgbClr val="00B0F0"/>
                </a:solidFill>
              </a:rPr>
              <a:t>karimás</a:t>
            </a:r>
            <a:r>
              <a:rPr lang="de-DE" dirty="0">
                <a:solidFill>
                  <a:srgbClr val="00B0F0"/>
                </a:solidFill>
              </a:rPr>
              <a:t> </a:t>
            </a:r>
            <a:r>
              <a:rPr lang="de-DE" dirty="0" err="1">
                <a:solidFill>
                  <a:srgbClr val="00B0F0"/>
                </a:solidFill>
              </a:rPr>
              <a:t>elszívással</a:t>
            </a:r>
            <a:endParaRPr lang="de-DE" dirty="0">
              <a:solidFill>
                <a:srgbClr val="00B0F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C16D8D3-1350-B1B4-718C-C63325C9E1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EAC62-8514-1118-E2EB-A927FF396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6C7E7A-6113-09D8-1881-22976C762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5426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0DE66BAF-2181-413E-91CE-A98632B4C97B}"/>
              </a:ext>
            </a:extLst>
          </p:cNvPr>
          <p:cNvSpPr/>
          <p:nvPr/>
        </p:nvSpPr>
        <p:spPr>
          <a:xfrm>
            <a:off x="7178566" y="0"/>
            <a:ext cx="501343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1FA99-B197-4F59-9E53-3DAA2C0102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01" imgH="502" progId="TCLayout.ActiveDocument.1">
                  <p:embed/>
                </p:oleObj>
              </mc:Choice>
              <mc:Fallback>
                <p:oleObj name="think-cell Folie" r:id="rId4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1FA99-B197-4F59-9E53-3DAA2C010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91E99E92-8378-48DA-BE80-7318D4FD3A2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D7E03-9B61-419A-83E7-EC6B1122D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3200" dirty="0"/>
              <a:t>Kérdések és válaszok</a:t>
            </a:r>
            <a:endParaRPr lang="en-GB" sz="3200" dirty="0"/>
          </a:p>
        </p:txBody>
      </p:sp>
      <p:pic>
        <p:nvPicPr>
          <p:cNvPr id="15" name="Grafik 14" descr="Mann">
            <a:extLst>
              <a:ext uri="{FF2B5EF4-FFF2-40B4-BE49-F238E27FC236}">
                <a16:creationId xmlns:a16="http://schemas.microsoft.com/office/drawing/2014/main" id="{1E3285DE-8B1E-4478-A792-6E816EC891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76756" y="3628104"/>
            <a:ext cx="1627710" cy="1627710"/>
          </a:xfrm>
          <a:prstGeom prst="rect">
            <a:avLst/>
          </a:prstGeom>
        </p:spPr>
      </p:pic>
      <p:pic>
        <p:nvPicPr>
          <p:cNvPr id="16" name="Grafik 15" descr="Unterhaltung">
            <a:extLst>
              <a:ext uri="{FF2B5EF4-FFF2-40B4-BE49-F238E27FC236}">
                <a16:creationId xmlns:a16="http://schemas.microsoft.com/office/drawing/2014/main" id="{1FBF7FA2-00C8-471D-95FC-955418CA07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82018" y="2514454"/>
            <a:ext cx="1627710" cy="1627710"/>
          </a:xfrm>
          <a:prstGeom prst="rect">
            <a:avLst/>
          </a:prstGeom>
        </p:spPr>
      </p:pic>
      <p:pic>
        <p:nvPicPr>
          <p:cNvPr id="17" name="Grafik 16" descr="Mann">
            <a:extLst>
              <a:ext uri="{FF2B5EF4-FFF2-40B4-BE49-F238E27FC236}">
                <a16:creationId xmlns:a16="http://schemas.microsoft.com/office/drawing/2014/main" id="{DEFCCD05-07DD-4233-A319-D2D59EA8CE6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21220" y="3076622"/>
            <a:ext cx="1627710" cy="1627710"/>
          </a:xfrm>
          <a:prstGeom prst="rect">
            <a:avLst/>
          </a:prstGeom>
        </p:spPr>
      </p:pic>
      <p:pic>
        <p:nvPicPr>
          <p:cNvPr id="18" name="Grafik 17" descr="Mann">
            <a:extLst>
              <a:ext uri="{FF2B5EF4-FFF2-40B4-BE49-F238E27FC236}">
                <a16:creationId xmlns:a16="http://schemas.microsoft.com/office/drawing/2014/main" id="{E82DAECC-8BBD-4832-8376-43D8A2DCD1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5562" y="3882621"/>
            <a:ext cx="1627710" cy="1627710"/>
          </a:xfrm>
          <a:prstGeom prst="rect">
            <a:avLst/>
          </a:prstGeom>
        </p:spPr>
      </p:pic>
      <p:pic>
        <p:nvPicPr>
          <p:cNvPr id="19" name="Grafik 18" descr="Mann">
            <a:extLst>
              <a:ext uri="{FF2B5EF4-FFF2-40B4-BE49-F238E27FC236}">
                <a16:creationId xmlns:a16="http://schemas.microsoft.com/office/drawing/2014/main" id="{35C0E683-C684-4BF7-827E-D24DF037D98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514868" y="3850207"/>
            <a:ext cx="1627710" cy="1627710"/>
          </a:xfrm>
          <a:prstGeom prst="rect">
            <a:avLst/>
          </a:prstGeom>
        </p:spPr>
      </p:pic>
      <p:pic>
        <p:nvPicPr>
          <p:cNvPr id="20" name="Grafik 19" descr="Mann">
            <a:extLst>
              <a:ext uri="{FF2B5EF4-FFF2-40B4-BE49-F238E27FC236}">
                <a16:creationId xmlns:a16="http://schemas.microsoft.com/office/drawing/2014/main" id="{F9C9D4E4-E8DF-4CE2-9769-55050AC864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355447" y="3490728"/>
            <a:ext cx="1627710" cy="1627710"/>
          </a:xfrm>
          <a:prstGeom prst="rect">
            <a:avLst/>
          </a:prstGeom>
        </p:spPr>
      </p:pic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2CADD488-7FB7-417D-8E07-394DF4538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axis Deutschland  |  FRIATEC  |  Infrastructur  I  Agriapipe Conference 01-25 Noszvaj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35E15DB-7AA8-1C93-26C7-8CBBC1BFEB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1CFF0A-E913-6DB0-51C1-9D7E385DB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1405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>
            <a:extLst>
              <a:ext uri="{FF2B5EF4-FFF2-40B4-BE49-F238E27FC236}">
                <a16:creationId xmlns:a16="http://schemas.microsoft.com/office/drawing/2014/main" id="{ED093B8C-F2E3-4403-A096-23DE6ED26F6A}"/>
              </a:ext>
            </a:extLst>
          </p:cNvPr>
          <p:cNvSpPr txBox="1"/>
          <p:nvPr/>
        </p:nvSpPr>
        <p:spPr>
          <a:xfrm>
            <a:off x="658761" y="1140542"/>
            <a:ext cx="4841390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lérhetőség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ainer Mueller</a:t>
            </a:r>
            <a:b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+49172 7499 25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  <a:hlinkClick r:id="rId3"/>
              </a:rPr>
              <a:t>rainer.mueller@aliaxis.com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www.aliaxis.de/E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D3475EE4-1387-46D7-9469-D46CC1C74AC3}"/>
              </a:ext>
            </a:extLst>
          </p:cNvPr>
          <p:cNvSpPr txBox="1"/>
          <p:nvPr/>
        </p:nvSpPr>
        <p:spPr>
          <a:xfrm>
            <a:off x="1935245" y="4748986"/>
            <a:ext cx="52629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3600" b="1" dirty="0">
                <a:solidFill>
                  <a:prstClr val="white"/>
                </a:solidFill>
                <a:latin typeface="Century Gothic" panose="020F0302020204030204"/>
              </a:rPr>
              <a:t>Köszönöm a figyelmet!</a:t>
            </a: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964C618-1723-2C89-AC8B-E8038A16CE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0151" y="1140541"/>
            <a:ext cx="2953742" cy="3265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57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6983E9-FCFE-A3DA-11C2-7352C3CF7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lújítási módszerek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F262E5-CDA1-8097-BD87-DCD70E796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AF4754F-05C2-07BA-ED96-C6100CF45E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908" t="48899" r="60000" b="33976"/>
          <a:stretch/>
        </p:blipFill>
        <p:spPr>
          <a:xfrm>
            <a:off x="6580606" y="2336515"/>
            <a:ext cx="3403647" cy="1631885"/>
          </a:xfrm>
          <a:prstGeom prst="rect">
            <a:avLst/>
          </a:prstGeom>
        </p:spPr>
      </p:pic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FD258D42-F613-1DEF-E6A3-4A17D4FD9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FAA8A9F-3849-CA68-EE72-1B134CF7C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4</a:t>
            </a:fld>
            <a:endParaRPr lang="en-GB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023451D-2777-DCA1-1EA9-8582F4F3C752}"/>
              </a:ext>
            </a:extLst>
          </p:cNvPr>
          <p:cNvSpPr txBox="1"/>
          <p:nvPr/>
        </p:nvSpPr>
        <p:spPr>
          <a:xfrm>
            <a:off x="269263" y="1136187"/>
            <a:ext cx="599875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000" b="1" dirty="0"/>
              <a:t>Polietilén szabványos csövet alkalmazó eljárás</a:t>
            </a:r>
            <a:endParaRPr lang="de-DE" sz="2000" b="1" dirty="0"/>
          </a:p>
          <a:p>
            <a:endParaRPr lang="de-DE" b="1" dirty="0"/>
          </a:p>
          <a:p>
            <a:r>
              <a:rPr lang="hu-HU" b="1" dirty="0" err="1"/>
              <a:t>Pl</a:t>
            </a:r>
            <a:r>
              <a:rPr lang="hu-HU" b="1" dirty="0"/>
              <a:t>: roppantással vagy zömítéssel</a:t>
            </a:r>
            <a:endParaRPr lang="de-DE" b="1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93AB66C-E04D-D9E3-417A-EBB82EBC07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550" y="2336515"/>
            <a:ext cx="5228123" cy="2092553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2D1E6C71-F9B8-B6E4-4D17-97398BD4E8DE}"/>
              </a:ext>
            </a:extLst>
          </p:cNvPr>
          <p:cNvSpPr txBox="1"/>
          <p:nvPr/>
        </p:nvSpPr>
        <p:spPr>
          <a:xfrm>
            <a:off x="410232" y="4816541"/>
            <a:ext cx="4497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>
                <a:solidFill>
                  <a:srgbClr val="32AAFF"/>
                </a:solidFill>
              </a:rPr>
              <a:t>Általános</a:t>
            </a:r>
            <a:r>
              <a:rPr lang="de-DE" b="1" dirty="0">
                <a:solidFill>
                  <a:srgbClr val="32AAFF"/>
                </a:solidFill>
              </a:rPr>
              <a:t> </a:t>
            </a:r>
            <a:r>
              <a:rPr lang="de-DE" b="1" dirty="0" err="1">
                <a:solidFill>
                  <a:srgbClr val="32AAFF"/>
                </a:solidFill>
              </a:rPr>
              <a:t>méretsor</a:t>
            </a:r>
            <a:r>
              <a:rPr lang="de-DE" b="1" dirty="0">
                <a:solidFill>
                  <a:srgbClr val="32AAFF"/>
                </a:solidFill>
              </a:rPr>
              <a:t> </a:t>
            </a:r>
            <a:r>
              <a:rPr lang="de-DE" b="1" dirty="0" err="1">
                <a:solidFill>
                  <a:srgbClr val="32AAFF"/>
                </a:solidFill>
              </a:rPr>
              <a:t>szerinti</a:t>
            </a:r>
            <a:r>
              <a:rPr lang="de-DE" b="1" dirty="0">
                <a:solidFill>
                  <a:srgbClr val="32AAFF"/>
                </a:solidFill>
              </a:rPr>
              <a:t> </a:t>
            </a:r>
            <a:r>
              <a:rPr lang="de-DE" b="1" dirty="0" err="1">
                <a:solidFill>
                  <a:srgbClr val="32AAFF"/>
                </a:solidFill>
              </a:rPr>
              <a:t>elektrofittingek</a:t>
            </a:r>
            <a:r>
              <a:rPr lang="de-DE" b="1" dirty="0">
                <a:solidFill>
                  <a:srgbClr val="32AAFF"/>
                </a:solidFill>
              </a:rPr>
              <a:t> </a:t>
            </a:r>
            <a:r>
              <a:rPr lang="de-DE" b="1" dirty="0" err="1">
                <a:solidFill>
                  <a:srgbClr val="32AAFF"/>
                </a:solidFill>
              </a:rPr>
              <a:t>használhatók</a:t>
            </a:r>
            <a:r>
              <a:rPr lang="de-DE" b="1" dirty="0">
                <a:solidFill>
                  <a:srgbClr val="32AAFF"/>
                </a:solidFill>
              </a:rPr>
              <a:t> a </a:t>
            </a:r>
            <a:r>
              <a:rPr lang="de-DE" b="1" dirty="0" err="1">
                <a:solidFill>
                  <a:srgbClr val="32AAFF"/>
                </a:solidFill>
              </a:rPr>
              <a:t>kötések</a:t>
            </a:r>
            <a:r>
              <a:rPr lang="de-DE" b="1" dirty="0">
                <a:solidFill>
                  <a:srgbClr val="32AAFF"/>
                </a:solidFill>
              </a:rPr>
              <a:t> </a:t>
            </a:r>
            <a:r>
              <a:rPr lang="de-DE" b="1" dirty="0" err="1">
                <a:solidFill>
                  <a:srgbClr val="32AAFF"/>
                </a:solidFill>
              </a:rPr>
              <a:t>kialakításához</a:t>
            </a:r>
            <a:endParaRPr lang="de-DE" b="1" dirty="0">
              <a:solidFill>
                <a:srgbClr val="32AAFF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1D16B96-F9F1-C9F9-687D-C10C80980082}"/>
              </a:ext>
            </a:extLst>
          </p:cNvPr>
          <p:cNvSpPr txBox="1"/>
          <p:nvPr/>
        </p:nvSpPr>
        <p:spPr>
          <a:xfrm>
            <a:off x="6580606" y="1166786"/>
            <a:ext cx="53421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 err="1"/>
              <a:t>Close</a:t>
            </a:r>
            <a:r>
              <a:rPr lang="hu-HU" sz="2000" b="1" dirty="0"/>
              <a:t> Fit eljárásnál a PE cső nem szabványos külső átmérővel rendelkezik</a:t>
            </a:r>
            <a:endParaRPr lang="de-DE" b="1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3A0506E-54E0-6A2E-22F8-1CEA04695916}"/>
              </a:ext>
            </a:extLst>
          </p:cNvPr>
          <p:cNvSpPr txBox="1"/>
          <p:nvPr/>
        </p:nvSpPr>
        <p:spPr>
          <a:xfrm>
            <a:off x="6580606" y="4816541"/>
            <a:ext cx="41501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>
                <a:solidFill>
                  <a:srgbClr val="FF0000"/>
                </a:solidFill>
              </a:rPr>
              <a:t>Speciális FRIATEC </a:t>
            </a:r>
            <a:r>
              <a:rPr lang="hu-HU" b="1" dirty="0" err="1">
                <a:solidFill>
                  <a:srgbClr val="FF0000"/>
                </a:solidFill>
              </a:rPr>
              <a:t>elektrofitting</a:t>
            </a:r>
            <a:r>
              <a:rPr lang="hu-HU" b="1" dirty="0">
                <a:solidFill>
                  <a:srgbClr val="FF0000"/>
                </a:solidFill>
              </a:rPr>
              <a:t> </a:t>
            </a:r>
            <a:r>
              <a:rPr lang="hu-HU" b="1" dirty="0" err="1">
                <a:solidFill>
                  <a:srgbClr val="FF0000"/>
                </a:solidFill>
              </a:rPr>
              <a:t>karmanyú</a:t>
            </a:r>
            <a:r>
              <a:rPr lang="hu-HU" b="1" dirty="0">
                <a:solidFill>
                  <a:srgbClr val="FF0000"/>
                </a:solidFill>
              </a:rPr>
              <a:t>, vagy műszaki kötéstechnológia szükséges</a:t>
            </a:r>
            <a:endParaRPr lang="de-DE" b="1" dirty="0">
              <a:solidFill>
                <a:srgbClr val="FF0000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FD06654-52C2-145E-723B-C18890F4CF4D}"/>
              </a:ext>
            </a:extLst>
          </p:cNvPr>
          <p:cNvSpPr txBox="1"/>
          <p:nvPr/>
        </p:nvSpPr>
        <p:spPr>
          <a:xfrm>
            <a:off x="4574833" y="4429068"/>
            <a:ext cx="11464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Source: Simona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4DF055A-6A9E-9FFD-ADC0-8B51AA3ACB46}"/>
              </a:ext>
            </a:extLst>
          </p:cNvPr>
          <p:cNvSpPr txBox="1"/>
          <p:nvPr/>
        </p:nvSpPr>
        <p:spPr>
          <a:xfrm>
            <a:off x="8646090" y="3969100"/>
            <a:ext cx="1072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Source: Wavin</a:t>
            </a:r>
          </a:p>
        </p:txBody>
      </p:sp>
    </p:spTree>
    <p:extLst>
      <p:ext uri="{BB962C8B-B14F-4D97-AF65-F5344CB8AC3E}">
        <p14:creationId xmlns:p14="http://schemas.microsoft.com/office/powerpoint/2010/main" val="16621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7" grpId="0"/>
      <p:bldP spid="18" grpId="0"/>
      <p:bldP spid="19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DAC2E6-2E72-48FC-B5DB-7270E463E1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flipH="1">
            <a:off x="9536745" y="5983537"/>
            <a:ext cx="1035610" cy="150432"/>
          </a:xfrm>
        </p:spPr>
        <p:txBody>
          <a:bodyPr/>
          <a:lstStyle/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FB9BE8-8F84-4B0A-A257-6FD275A6E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5</a:t>
            </a:fld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97347C-E0F9-4526-966D-18D5E3E69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8" y="216000"/>
            <a:ext cx="11257200" cy="505069"/>
          </a:xfrm>
        </p:spPr>
        <p:txBody>
          <a:bodyPr/>
          <a:lstStyle/>
          <a:p>
            <a:r>
              <a:rPr lang="en-GB" b="0" dirty="0">
                <a:solidFill>
                  <a:schemeClr val="accent1"/>
                </a:solidFill>
              </a:rPr>
              <a:t>Close-fit </a:t>
            </a:r>
            <a:r>
              <a:rPr lang="hu-HU" b="0" dirty="0">
                <a:solidFill>
                  <a:schemeClr val="accent1"/>
                </a:solidFill>
              </a:rPr>
              <a:t>s</a:t>
            </a:r>
            <a:r>
              <a:rPr lang="en-GB" b="0" dirty="0" err="1">
                <a:solidFill>
                  <a:schemeClr val="accent1"/>
                </a:solidFill>
              </a:rPr>
              <a:t>zorosan</a:t>
            </a:r>
            <a:r>
              <a:rPr lang="en-GB" b="0" dirty="0">
                <a:solidFill>
                  <a:schemeClr val="accent1"/>
                </a:solidFill>
              </a:rPr>
              <a:t> </a:t>
            </a:r>
            <a:r>
              <a:rPr lang="en-GB" b="0" dirty="0" err="1">
                <a:solidFill>
                  <a:schemeClr val="accent1"/>
                </a:solidFill>
              </a:rPr>
              <a:t>illeszkedő</a:t>
            </a:r>
            <a:r>
              <a:rPr lang="en-GB" b="0" dirty="0">
                <a:solidFill>
                  <a:schemeClr val="accent1"/>
                </a:solidFill>
              </a:rPr>
              <a:t> PE-HD </a:t>
            </a:r>
            <a:r>
              <a:rPr lang="en-GB" b="0" dirty="0" err="1">
                <a:solidFill>
                  <a:schemeClr val="accent1"/>
                </a:solidFill>
              </a:rPr>
              <a:t>béléscső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74C6823-42F8-4263-B0A8-792E560051B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1263" y="775007"/>
            <a:ext cx="11257200" cy="4669200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solidFill>
                  <a:srgbClr val="7E7E7E"/>
                </a:solidFill>
              </a:rPr>
              <a:t>•</a:t>
            </a:r>
            <a:r>
              <a:rPr lang="hu-HU" dirty="0">
                <a:solidFill>
                  <a:srgbClr val="7E7E7E"/>
                </a:solidFill>
              </a:rPr>
              <a:t>A </a:t>
            </a:r>
            <a:r>
              <a:rPr lang="hu-HU" dirty="0" err="1">
                <a:solidFill>
                  <a:srgbClr val="7E7E7E"/>
                </a:solidFill>
              </a:rPr>
              <a:t>gyárilag</a:t>
            </a:r>
            <a:r>
              <a:rPr lang="hu-HU" dirty="0">
                <a:solidFill>
                  <a:srgbClr val="7E7E7E"/>
                </a:solidFill>
              </a:rPr>
              <a:t> formázott </a:t>
            </a:r>
            <a:r>
              <a:rPr lang="de-DE" dirty="0">
                <a:solidFill>
                  <a:srgbClr val="7E7E7E"/>
                </a:solidFill>
              </a:rPr>
              <a:t>PE </a:t>
            </a:r>
            <a:r>
              <a:rPr lang="de-DE" dirty="0" err="1">
                <a:solidFill>
                  <a:srgbClr val="7E7E7E"/>
                </a:solidFill>
              </a:rPr>
              <a:t>bélés</a:t>
            </a:r>
            <a:r>
              <a:rPr lang="hu-HU" dirty="0">
                <a:solidFill>
                  <a:srgbClr val="7E7E7E"/>
                </a:solidFill>
              </a:rPr>
              <a:t>csöve</a:t>
            </a:r>
            <a:r>
              <a:rPr lang="de-DE" dirty="0">
                <a:solidFill>
                  <a:srgbClr val="7E7E7E"/>
                </a:solidFill>
              </a:rPr>
              <a:t>t </a:t>
            </a:r>
            <a:r>
              <a:rPr lang="de-DE" dirty="0" err="1">
                <a:solidFill>
                  <a:srgbClr val="7E7E7E"/>
                </a:solidFill>
              </a:rPr>
              <a:t>behúzzák</a:t>
            </a:r>
            <a:r>
              <a:rPr lang="de-DE" dirty="0">
                <a:solidFill>
                  <a:srgbClr val="7E7E7E"/>
                </a:solidFill>
              </a:rPr>
              <a:t> a </a:t>
            </a:r>
            <a:r>
              <a:rPr lang="hu-HU" dirty="0">
                <a:solidFill>
                  <a:srgbClr val="7E7E7E"/>
                </a:solidFill>
              </a:rPr>
              <a:t>felújítandó</a:t>
            </a:r>
            <a:r>
              <a:rPr lang="de-DE" dirty="0">
                <a:solidFill>
                  <a:srgbClr val="7E7E7E"/>
                </a:solidFill>
              </a:rPr>
              <a:t> </a:t>
            </a:r>
            <a:r>
              <a:rPr lang="de-DE" dirty="0" err="1">
                <a:solidFill>
                  <a:srgbClr val="7E7E7E"/>
                </a:solidFill>
              </a:rPr>
              <a:t>csőbe</a:t>
            </a:r>
            <a:r>
              <a:rPr lang="de-DE" dirty="0">
                <a:solidFill>
                  <a:srgbClr val="7E7E7E"/>
                </a:solidFill>
              </a:rPr>
              <a:t>, </a:t>
            </a:r>
            <a:r>
              <a:rPr lang="de-DE" dirty="0" err="1">
                <a:solidFill>
                  <a:srgbClr val="7E7E7E"/>
                </a:solidFill>
              </a:rPr>
              <a:t>majd</a:t>
            </a:r>
            <a:r>
              <a:rPr lang="de-DE" dirty="0">
                <a:solidFill>
                  <a:srgbClr val="7E7E7E"/>
                </a:solidFill>
              </a:rPr>
              <a:t> </a:t>
            </a:r>
            <a:r>
              <a:rPr lang="hu-HU" dirty="0">
                <a:solidFill>
                  <a:srgbClr val="7E7E7E"/>
                </a:solidFill>
              </a:rPr>
              <a:t>70 °C-os </a:t>
            </a:r>
            <a:r>
              <a:rPr lang="de-DE" dirty="0" err="1">
                <a:solidFill>
                  <a:srgbClr val="7E7E7E"/>
                </a:solidFill>
              </a:rPr>
              <a:t>gőz</a:t>
            </a:r>
            <a:r>
              <a:rPr lang="hu-HU" dirty="0" err="1">
                <a:solidFill>
                  <a:srgbClr val="7E7E7E"/>
                </a:solidFill>
              </a:rPr>
              <a:t>zel</a:t>
            </a:r>
            <a:r>
              <a:rPr lang="de-DE" dirty="0">
                <a:solidFill>
                  <a:srgbClr val="7E7E7E"/>
                </a:solidFill>
              </a:rPr>
              <a:t> </a:t>
            </a:r>
            <a:r>
              <a:rPr lang="de-DE" dirty="0" err="1">
                <a:solidFill>
                  <a:srgbClr val="7E7E7E"/>
                </a:solidFill>
              </a:rPr>
              <a:t>körkörösre</a:t>
            </a:r>
            <a:r>
              <a:rPr lang="de-DE" dirty="0">
                <a:solidFill>
                  <a:srgbClr val="7E7E7E"/>
                </a:solidFill>
              </a:rPr>
              <a:t> </a:t>
            </a:r>
            <a:r>
              <a:rPr lang="de-DE" dirty="0" err="1">
                <a:solidFill>
                  <a:srgbClr val="7E7E7E"/>
                </a:solidFill>
              </a:rPr>
              <a:t>alakítják</a:t>
            </a:r>
            <a:r>
              <a:rPr lang="de-DE" dirty="0">
                <a:solidFill>
                  <a:srgbClr val="7E7E7E"/>
                </a:solidFill>
              </a:rPr>
              <a:t>.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A2F9B926-1BB7-4EA5-A569-E22BDE336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10334B6A-2564-6B27-C255-053DD39683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8549" y="1690206"/>
            <a:ext cx="3212539" cy="2089079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6FFA0F1-E30C-5EA4-7EE2-0841C1C708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305" y="4109931"/>
            <a:ext cx="3123714" cy="2089079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8FD07C24-F14F-1050-CFE2-71CA23968A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6153" y="4109931"/>
            <a:ext cx="3206868" cy="1840305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E569A2A1-9592-AAAC-F196-889538A222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38155" y="4112879"/>
            <a:ext cx="3128736" cy="1837357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B15C96BA-B998-18B8-5309-712A9C7724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305" y="1703529"/>
            <a:ext cx="2751532" cy="208707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2ED143E-24C2-65B5-1DA9-5850C7B5DA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08168" y="1703529"/>
            <a:ext cx="2221050" cy="2089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2870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6ACD6C-3413-A7E2-1F76-FCE86C5A6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602B9D-266F-57BF-1E49-934123248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Csatlakozók a CLOSE-FIT technológiához</a:t>
            </a:r>
            <a:endParaRPr lang="de-DE" dirty="0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828A6C66-549D-97D5-68C4-3114D5AACD0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63550" y="947299"/>
            <a:ext cx="6011959" cy="298080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724727-F8A4-2905-43AA-0DA12213C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ADC31FD-7CB4-0A07-F7CE-ECBE8BB02F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908" t="48899" r="60000" b="33976"/>
          <a:stretch/>
        </p:blipFill>
        <p:spPr>
          <a:xfrm>
            <a:off x="7011803" y="954772"/>
            <a:ext cx="3403647" cy="163188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FD1BEAF-8F17-CF39-F175-3D727123709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7" t="10142" r="30277" b="18297"/>
          <a:stretch/>
        </p:blipFill>
        <p:spPr>
          <a:xfrm>
            <a:off x="463550" y="4045862"/>
            <a:ext cx="2237210" cy="2100851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7DD1D95-4EBF-F646-DAAA-97A4D813F72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10" r="24317" b="13429"/>
          <a:stretch/>
        </p:blipFill>
        <p:spPr>
          <a:xfrm>
            <a:off x="3480565" y="4045862"/>
            <a:ext cx="2410462" cy="2100851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B04042E-DE3E-95BA-C978-B41174D4DEF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66" t="22119" r="25334" b="20963"/>
          <a:stretch/>
        </p:blipFill>
        <p:spPr>
          <a:xfrm>
            <a:off x="6670832" y="2779746"/>
            <a:ext cx="2178416" cy="3366967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97615F3E-D419-9627-7A66-08089D1B8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AE72230-53F1-203E-0990-7C47D499A8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6</a:t>
            </a:fld>
            <a:endParaRPr lang="en-GB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C31890C-5ABC-1163-E6B2-752A951EAFD6}"/>
              </a:ext>
            </a:extLst>
          </p:cNvPr>
          <p:cNvSpPr/>
          <p:nvPr/>
        </p:nvSpPr>
        <p:spPr>
          <a:xfrm>
            <a:off x="526214" y="3299603"/>
            <a:ext cx="5754357" cy="1466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75D87CD-D274-5DC3-0B3F-1D586B6EEA37}"/>
              </a:ext>
            </a:extLst>
          </p:cNvPr>
          <p:cNvSpPr/>
          <p:nvPr/>
        </p:nvSpPr>
        <p:spPr>
          <a:xfrm>
            <a:off x="531968" y="3710789"/>
            <a:ext cx="5754357" cy="1466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8901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nhaltsplatzhalter 11" descr="Ein Bild, das draußen, Gelände, Rakete enthält.&#10;&#10;Automatisch generierte Beschreibung">
            <a:extLst>
              <a:ext uri="{FF2B5EF4-FFF2-40B4-BE49-F238E27FC236}">
                <a16:creationId xmlns:a16="http://schemas.microsoft.com/office/drawing/2014/main" id="{0D1E102D-4231-B693-4960-879AA56B8BD0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FB9BE8-8F84-4B0A-A257-6FD275A6E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134DF7A-BEA9-4831-B46F-2B4DABD39A7D}" type="slidenum">
              <a:rPr lang="en-US" sz="120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7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Legende: mit gebogener Linie ohne Rahmen 20">
            <a:extLst>
              <a:ext uri="{FF2B5EF4-FFF2-40B4-BE49-F238E27FC236}">
                <a16:creationId xmlns:a16="http://schemas.microsoft.com/office/drawing/2014/main" id="{2604780E-35B3-C2F7-69C9-C10B889861DC}"/>
              </a:ext>
            </a:extLst>
          </p:cNvPr>
          <p:cNvSpPr/>
          <p:nvPr/>
        </p:nvSpPr>
        <p:spPr>
          <a:xfrm>
            <a:off x="7665720" y="1790916"/>
            <a:ext cx="1889760" cy="532775"/>
          </a:xfrm>
          <a:prstGeom prst="callout2">
            <a:avLst>
              <a:gd name="adj1" fmla="val 18750"/>
              <a:gd name="adj2" fmla="val -2342"/>
              <a:gd name="adj3" fmla="val 18750"/>
              <a:gd name="adj4" fmla="val -16667"/>
              <a:gd name="adj5" fmla="val 463932"/>
              <a:gd name="adj6" fmla="val -23164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err="1">
                <a:solidFill>
                  <a:srgbClr val="7E7E7E"/>
                </a:solidFill>
              </a:rPr>
              <a:t>Körkörösítő</a:t>
            </a:r>
            <a:r>
              <a:rPr lang="hu-HU" sz="1100" dirty="0">
                <a:solidFill>
                  <a:srgbClr val="7E7E7E"/>
                </a:solidFill>
              </a:rPr>
              <a:t> gyűrű a behelyezés előtt  </a:t>
            </a:r>
            <a:endParaRPr lang="de-DE" sz="1100" dirty="0">
              <a:solidFill>
                <a:srgbClr val="7E7E7E"/>
              </a:solidFill>
            </a:endParaRPr>
          </a:p>
        </p:txBody>
      </p:sp>
      <p:sp>
        <p:nvSpPr>
          <p:cNvPr id="22" name="Legende: mit gebogener Linie ohne Rahmen 21">
            <a:extLst>
              <a:ext uri="{FF2B5EF4-FFF2-40B4-BE49-F238E27FC236}">
                <a16:creationId xmlns:a16="http://schemas.microsoft.com/office/drawing/2014/main" id="{ED5A9524-6B08-86F9-4A76-8C6FDB5F58EC}"/>
              </a:ext>
            </a:extLst>
          </p:cNvPr>
          <p:cNvSpPr/>
          <p:nvPr/>
        </p:nvSpPr>
        <p:spPr>
          <a:xfrm>
            <a:off x="393041" y="1660835"/>
            <a:ext cx="2172970" cy="932856"/>
          </a:xfrm>
          <a:prstGeom prst="callout2">
            <a:avLst>
              <a:gd name="adj1" fmla="val 48172"/>
              <a:gd name="adj2" fmla="val 101345"/>
              <a:gd name="adj3" fmla="val 75960"/>
              <a:gd name="adj4" fmla="val 120199"/>
              <a:gd name="adj5" fmla="val 383838"/>
              <a:gd name="adj6" fmla="val 182826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err="1">
                <a:solidFill>
                  <a:srgbClr val="7E7E7E"/>
                </a:solidFill>
              </a:rPr>
              <a:t>Körkösöítő</a:t>
            </a:r>
            <a:r>
              <a:rPr lang="hu-HU" sz="1100" dirty="0">
                <a:solidFill>
                  <a:srgbClr val="7E7E7E"/>
                </a:solidFill>
              </a:rPr>
              <a:t> gyűrű a tágító készülékkel történő behelyezés után</a:t>
            </a:r>
            <a:endParaRPr lang="de-DE" sz="1100" dirty="0">
              <a:solidFill>
                <a:srgbClr val="7E7E7E"/>
              </a:solidFill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99238DEB-CDB8-CD4D-2AF4-60F88422D2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8217" y="0"/>
            <a:ext cx="2262730" cy="39624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" name="Legende: mit gebogener Linie ohne Rahmen 23">
            <a:extLst>
              <a:ext uri="{FF2B5EF4-FFF2-40B4-BE49-F238E27FC236}">
                <a16:creationId xmlns:a16="http://schemas.microsoft.com/office/drawing/2014/main" id="{5EED2591-D8C5-AC64-0E3F-B52269FE9B64}"/>
              </a:ext>
            </a:extLst>
          </p:cNvPr>
          <p:cNvSpPr/>
          <p:nvPr/>
        </p:nvSpPr>
        <p:spPr>
          <a:xfrm>
            <a:off x="4206240" y="719450"/>
            <a:ext cx="1889760" cy="532775"/>
          </a:xfrm>
          <a:prstGeom prst="callout2">
            <a:avLst>
              <a:gd name="adj1" fmla="val 103747"/>
              <a:gd name="adj2" fmla="val 47428"/>
              <a:gd name="adj3" fmla="val 159323"/>
              <a:gd name="adj4" fmla="val 9139"/>
              <a:gd name="adj5" fmla="val 508065"/>
              <a:gd name="adj6" fmla="val 14624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rgbClr val="7E7E7E"/>
                </a:solidFill>
              </a:rPr>
              <a:t>FRIALEN</a:t>
            </a:r>
            <a:r>
              <a:rPr lang="de-DE" sz="1100" baseline="30000" dirty="0">
                <a:solidFill>
                  <a:srgbClr val="7E7E7E"/>
                </a:solidFill>
              </a:rPr>
              <a:t>®</a:t>
            </a:r>
            <a:r>
              <a:rPr lang="de-DE" sz="1100" dirty="0">
                <a:solidFill>
                  <a:srgbClr val="7E7E7E"/>
                </a:solidFill>
              </a:rPr>
              <a:t>- REM </a:t>
            </a:r>
            <a:r>
              <a:rPr lang="hu-HU" sz="1100" dirty="0">
                <a:solidFill>
                  <a:srgbClr val="7E7E7E"/>
                </a:solidFill>
              </a:rPr>
              <a:t>vagy</a:t>
            </a:r>
            <a:r>
              <a:rPr lang="de-DE" sz="1100" dirty="0">
                <a:solidFill>
                  <a:srgbClr val="7E7E7E"/>
                </a:solidFill>
              </a:rPr>
              <a:t> UB </a:t>
            </a:r>
            <a:r>
              <a:rPr lang="hu-HU" sz="1100" dirty="0" err="1">
                <a:solidFill>
                  <a:srgbClr val="7E7E7E"/>
                </a:solidFill>
              </a:rPr>
              <a:t>elektrokarmantyú</a:t>
            </a:r>
            <a:endParaRPr lang="de-DE" sz="1100" dirty="0">
              <a:solidFill>
                <a:srgbClr val="7E7E7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16EED60-2134-3B53-CACB-A2A1CFF53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80B27C-91D6-32C1-CE83-C02C86CB9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iaxis Deutschland  |  FRIATEC  |  Infrastructur  I  Agriapipe Conference 01-25 Noszva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08789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DAC2E6-2E72-48FC-B5DB-7270E463E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FB9BE8-8F84-4B0A-A257-6FD275A6E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8</a:t>
            </a:fld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97347C-E0F9-4526-966D-18D5E3E69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solidFill>
                  <a:schemeClr val="accent1"/>
                </a:solidFill>
              </a:rPr>
              <a:t>Close Fit – Lining</a:t>
            </a:r>
            <a:br>
              <a:rPr lang="en-GB" b="0">
                <a:solidFill>
                  <a:schemeClr val="accent1"/>
                </a:solidFill>
              </a:rPr>
            </a:br>
            <a:r>
              <a:rPr lang="en-GB">
                <a:solidFill>
                  <a:schemeClr val="accent1"/>
                </a:solidFill>
              </a:rPr>
              <a:t>Verbindungstechnik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A2F9B926-1BB7-4EA5-A569-E22BDE336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pic>
        <p:nvPicPr>
          <p:cNvPr id="25" name="Grafik 24" descr="Ein Bild, das Waffe, Teleskop, draußen, Gelände enthält.&#10;&#10;Automatisch generierte Beschreibung">
            <a:extLst>
              <a:ext uri="{FF2B5EF4-FFF2-40B4-BE49-F238E27FC236}">
                <a16:creationId xmlns:a16="http://schemas.microsoft.com/office/drawing/2014/main" id="{60490FD8-4E2B-9653-BF2D-DDD51A4EAA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9" name="Legende: mit gebogener Linie ohne Rahmen 28">
            <a:extLst>
              <a:ext uri="{FF2B5EF4-FFF2-40B4-BE49-F238E27FC236}">
                <a16:creationId xmlns:a16="http://schemas.microsoft.com/office/drawing/2014/main" id="{3D1CCFB0-CA37-B940-625F-B72C58300C4F}"/>
              </a:ext>
            </a:extLst>
          </p:cNvPr>
          <p:cNvSpPr/>
          <p:nvPr/>
        </p:nvSpPr>
        <p:spPr>
          <a:xfrm>
            <a:off x="1390015" y="822489"/>
            <a:ext cx="1889760" cy="532775"/>
          </a:xfrm>
          <a:prstGeom prst="callout2">
            <a:avLst>
              <a:gd name="adj1" fmla="val 18750"/>
              <a:gd name="adj2" fmla="val -2342"/>
              <a:gd name="adj3" fmla="val 18750"/>
              <a:gd name="adj4" fmla="val -16667"/>
              <a:gd name="adj5" fmla="val 293937"/>
              <a:gd name="adj6" fmla="val -33764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>
                <a:solidFill>
                  <a:srgbClr val="7E7E7E"/>
                </a:solidFill>
              </a:rPr>
              <a:t>Felújítandó vezeték</a:t>
            </a:r>
            <a:endParaRPr lang="de-DE" sz="1100" dirty="0">
              <a:solidFill>
                <a:srgbClr val="7E7E7E"/>
              </a:solidFill>
            </a:endParaRPr>
          </a:p>
        </p:txBody>
      </p:sp>
      <p:sp>
        <p:nvSpPr>
          <p:cNvPr id="31" name="Legende: mit gebogener Linie ohne Rahmen 30">
            <a:extLst>
              <a:ext uri="{FF2B5EF4-FFF2-40B4-BE49-F238E27FC236}">
                <a16:creationId xmlns:a16="http://schemas.microsoft.com/office/drawing/2014/main" id="{F4116F88-6362-06C2-80AE-7FF9C4E0128A}"/>
              </a:ext>
            </a:extLst>
          </p:cNvPr>
          <p:cNvSpPr/>
          <p:nvPr/>
        </p:nvSpPr>
        <p:spPr>
          <a:xfrm>
            <a:off x="1063681" y="4921145"/>
            <a:ext cx="1889760" cy="356249"/>
          </a:xfrm>
          <a:prstGeom prst="callout2">
            <a:avLst>
              <a:gd name="adj1" fmla="val 18750"/>
              <a:gd name="adj2" fmla="val -2342"/>
              <a:gd name="adj3" fmla="val 18750"/>
              <a:gd name="adj4" fmla="val -16667"/>
              <a:gd name="adj5" fmla="val -428766"/>
              <a:gd name="adj6" fmla="val 5195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rgbClr val="7E7E7E"/>
                </a:solidFill>
              </a:rPr>
              <a:t>PE-HD </a:t>
            </a:r>
            <a:r>
              <a:rPr lang="hu-HU" sz="1100" dirty="0">
                <a:solidFill>
                  <a:srgbClr val="7E7E7E"/>
                </a:solidFill>
              </a:rPr>
              <a:t>Bélelőcső</a:t>
            </a:r>
            <a:endParaRPr lang="de-DE" sz="1100" dirty="0">
              <a:solidFill>
                <a:srgbClr val="7E7E7E"/>
              </a:solidFill>
            </a:endParaRPr>
          </a:p>
        </p:txBody>
      </p:sp>
      <p:sp>
        <p:nvSpPr>
          <p:cNvPr id="33" name="Legende: mit gebogener Linie ohne Rahmen 32">
            <a:extLst>
              <a:ext uri="{FF2B5EF4-FFF2-40B4-BE49-F238E27FC236}">
                <a16:creationId xmlns:a16="http://schemas.microsoft.com/office/drawing/2014/main" id="{F933029B-F0CD-D0B9-DC5F-A7D2A7909462}"/>
              </a:ext>
            </a:extLst>
          </p:cNvPr>
          <p:cNvSpPr/>
          <p:nvPr/>
        </p:nvSpPr>
        <p:spPr>
          <a:xfrm>
            <a:off x="4086206" y="822489"/>
            <a:ext cx="1889760" cy="560297"/>
          </a:xfrm>
          <a:prstGeom prst="callout2">
            <a:avLst>
              <a:gd name="adj1" fmla="val 18750"/>
              <a:gd name="adj2" fmla="val -2342"/>
              <a:gd name="adj3" fmla="val 18750"/>
              <a:gd name="adj4" fmla="val -16667"/>
              <a:gd name="adj5" fmla="val 292302"/>
              <a:gd name="adj6" fmla="val -5957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rgbClr val="7E7E7E"/>
                </a:solidFill>
              </a:rPr>
              <a:t>FRIALEN</a:t>
            </a:r>
            <a:r>
              <a:rPr lang="de-DE" sz="1100" baseline="30000" dirty="0">
                <a:solidFill>
                  <a:srgbClr val="7E7E7E"/>
                </a:solidFill>
              </a:rPr>
              <a:t>®</a:t>
            </a:r>
            <a:r>
              <a:rPr lang="de-DE" sz="1100" dirty="0">
                <a:solidFill>
                  <a:srgbClr val="7E7E7E"/>
                </a:solidFill>
              </a:rPr>
              <a:t>- REM </a:t>
            </a:r>
            <a:r>
              <a:rPr lang="hu-HU" sz="1100" dirty="0">
                <a:solidFill>
                  <a:srgbClr val="7E7E7E"/>
                </a:solidFill>
              </a:rPr>
              <a:t>vagy</a:t>
            </a:r>
            <a:r>
              <a:rPr lang="de-DE" sz="1100" dirty="0">
                <a:solidFill>
                  <a:srgbClr val="7E7E7E"/>
                </a:solidFill>
              </a:rPr>
              <a:t> </a:t>
            </a:r>
            <a:r>
              <a:rPr lang="hu-HU" sz="1100" dirty="0">
                <a:solidFill>
                  <a:srgbClr val="7E7E7E"/>
                </a:solidFill>
              </a:rPr>
              <a:t>szabványos</a:t>
            </a:r>
            <a:r>
              <a:rPr lang="de-DE" sz="1100" dirty="0">
                <a:solidFill>
                  <a:srgbClr val="7E7E7E"/>
                </a:solidFill>
              </a:rPr>
              <a:t> UB</a:t>
            </a:r>
            <a:r>
              <a:rPr lang="hu-HU" sz="1100" dirty="0">
                <a:solidFill>
                  <a:srgbClr val="7E7E7E"/>
                </a:solidFill>
              </a:rPr>
              <a:t> </a:t>
            </a:r>
            <a:r>
              <a:rPr lang="hu-HU" sz="1100" dirty="0" err="1">
                <a:solidFill>
                  <a:srgbClr val="7E7E7E"/>
                </a:solidFill>
              </a:rPr>
              <a:t>elektrofitting</a:t>
            </a:r>
            <a:r>
              <a:rPr lang="hu-HU" sz="1100" dirty="0">
                <a:solidFill>
                  <a:srgbClr val="7E7E7E"/>
                </a:solidFill>
              </a:rPr>
              <a:t> karmantyú</a:t>
            </a:r>
            <a:r>
              <a:rPr lang="de-DE" sz="1100" dirty="0">
                <a:solidFill>
                  <a:srgbClr val="7E7E7E"/>
                </a:solidFill>
              </a:rPr>
              <a:t> </a:t>
            </a:r>
          </a:p>
        </p:txBody>
      </p:sp>
      <p:sp>
        <p:nvSpPr>
          <p:cNvPr id="35" name="Legende: mit gebogener Linie ohne Rahmen 34">
            <a:extLst>
              <a:ext uri="{FF2B5EF4-FFF2-40B4-BE49-F238E27FC236}">
                <a16:creationId xmlns:a16="http://schemas.microsoft.com/office/drawing/2014/main" id="{656DFE3B-2173-8966-A465-092E2EC37C01}"/>
              </a:ext>
            </a:extLst>
          </p:cNvPr>
          <p:cNvSpPr/>
          <p:nvPr/>
        </p:nvSpPr>
        <p:spPr>
          <a:xfrm>
            <a:off x="3933155" y="5212882"/>
            <a:ext cx="1889760" cy="356249"/>
          </a:xfrm>
          <a:prstGeom prst="callout2">
            <a:avLst>
              <a:gd name="adj1" fmla="val 18750"/>
              <a:gd name="adj2" fmla="val -2342"/>
              <a:gd name="adj3" fmla="val 18750"/>
              <a:gd name="adj4" fmla="val -16667"/>
              <a:gd name="adj5" fmla="val -445877"/>
              <a:gd name="adj6" fmla="val 56559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rgbClr val="7E7E7E"/>
                </a:solidFill>
              </a:rPr>
              <a:t>PE-HD </a:t>
            </a:r>
            <a:r>
              <a:rPr lang="hu-HU" sz="1100" dirty="0">
                <a:solidFill>
                  <a:srgbClr val="7E7E7E"/>
                </a:solidFill>
              </a:rPr>
              <a:t>szabványos cső</a:t>
            </a:r>
            <a:endParaRPr lang="de-DE" sz="1100" dirty="0">
              <a:solidFill>
                <a:srgbClr val="7E7E7E"/>
              </a:solidFill>
            </a:endParaRPr>
          </a:p>
        </p:txBody>
      </p:sp>
      <p:sp>
        <p:nvSpPr>
          <p:cNvPr id="36" name="Legende: mit gebogener Linie ohne Rahmen 35">
            <a:extLst>
              <a:ext uri="{FF2B5EF4-FFF2-40B4-BE49-F238E27FC236}">
                <a16:creationId xmlns:a16="http://schemas.microsoft.com/office/drawing/2014/main" id="{BEDF692F-FD4C-F126-529C-948224AC1EEF}"/>
              </a:ext>
            </a:extLst>
          </p:cNvPr>
          <p:cNvSpPr/>
          <p:nvPr/>
        </p:nvSpPr>
        <p:spPr>
          <a:xfrm>
            <a:off x="9167658" y="1915279"/>
            <a:ext cx="1632614" cy="396600"/>
          </a:xfrm>
          <a:prstGeom prst="callout2">
            <a:avLst>
              <a:gd name="adj1" fmla="val 18750"/>
              <a:gd name="adj2" fmla="val -2342"/>
              <a:gd name="adj3" fmla="val 18750"/>
              <a:gd name="adj4" fmla="val -16667"/>
              <a:gd name="adj5" fmla="val 569686"/>
              <a:gd name="adj6" fmla="val -89435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>
                <a:solidFill>
                  <a:srgbClr val="7E7E7E"/>
                </a:solidFill>
              </a:rPr>
              <a:t>Rozsdamentes</a:t>
            </a:r>
            <a:r>
              <a:rPr lang="de-DE" sz="1100" dirty="0">
                <a:solidFill>
                  <a:srgbClr val="7E7E7E"/>
                </a:solidFill>
              </a:rPr>
              <a:t> </a:t>
            </a:r>
            <a:r>
              <a:rPr lang="de-DE" sz="1100" dirty="0" err="1">
                <a:solidFill>
                  <a:srgbClr val="7E7E7E"/>
                </a:solidFill>
              </a:rPr>
              <a:t>acél</a:t>
            </a:r>
            <a:r>
              <a:rPr lang="de-DE" sz="1100" dirty="0">
                <a:solidFill>
                  <a:srgbClr val="7E7E7E"/>
                </a:solidFill>
              </a:rPr>
              <a:t> </a:t>
            </a:r>
            <a:r>
              <a:rPr lang="hu-HU" sz="1100" dirty="0">
                <a:solidFill>
                  <a:srgbClr val="7E7E7E"/>
                </a:solidFill>
              </a:rPr>
              <a:t>körkörsítő gyűrű</a:t>
            </a:r>
            <a:endParaRPr lang="de-DE" sz="1100" dirty="0">
              <a:solidFill>
                <a:srgbClr val="7E7E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504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DAC2E6-2E72-48FC-B5DB-7270E463E1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25362" y="6396998"/>
            <a:ext cx="4320000" cy="270000"/>
          </a:xfrm>
        </p:spPr>
        <p:txBody>
          <a:bodyPr/>
          <a:lstStyle/>
          <a:p>
            <a:r>
              <a:rPr lang="de-DE"/>
              <a:t>by Rainer Mueller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FB9BE8-8F84-4B0A-A257-6FD275A6E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34DF7A-BEA9-4831-B46F-2B4DABD39A7D}" type="slidenum">
              <a:rPr lang="en-GB" smtClean="0"/>
              <a:t>9</a:t>
            </a:fld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97347C-E0F9-4526-966D-18D5E3E69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>
                <a:solidFill>
                  <a:schemeClr val="accent1"/>
                </a:solidFill>
              </a:rPr>
              <a:t>Close Fit – </a:t>
            </a:r>
            <a:r>
              <a:rPr lang="hu-HU" b="0" dirty="0">
                <a:solidFill>
                  <a:schemeClr val="accent1"/>
                </a:solidFill>
              </a:rPr>
              <a:t>Bélelés</a:t>
            </a:r>
            <a:br>
              <a:rPr lang="en-GB" b="0" dirty="0">
                <a:solidFill>
                  <a:schemeClr val="accent1"/>
                </a:solidFill>
              </a:rPr>
            </a:br>
            <a:r>
              <a:rPr lang="hu-HU" dirty="0">
                <a:solidFill>
                  <a:schemeClr val="accent1"/>
                </a:solidFill>
              </a:rPr>
              <a:t>Gázvezeték </a:t>
            </a:r>
            <a:r>
              <a:rPr lang="en-GB" dirty="0">
                <a:solidFill>
                  <a:schemeClr val="accent1"/>
                </a:solidFill>
              </a:rPr>
              <a:t>DN 500, SDR 21, PE 100, 93m </a:t>
            </a:r>
            <a:r>
              <a:rPr lang="hu-HU" dirty="0">
                <a:solidFill>
                  <a:schemeClr val="accent1"/>
                </a:solidFill>
              </a:rPr>
              <a:t>hosszban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A2F9B926-1BB7-4EA5-A569-E22BDE336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3550" y="6468930"/>
            <a:ext cx="5632450" cy="270000"/>
          </a:xfrm>
        </p:spPr>
        <p:txBody>
          <a:bodyPr/>
          <a:lstStyle/>
          <a:p>
            <a:r>
              <a:rPr lang="en-GB"/>
              <a:t>Aliaxis Deutschland  |  FRIATEC  |  Infrastructur  I  Agriapipe Conference 01-25 Noszvaj</a:t>
            </a:r>
            <a:endParaRPr lang="en-GB" dirty="0"/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8CACC399-5469-8248-B6FF-C16E7EBFB6B1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2"/>
          <a:stretch>
            <a:fillRect/>
          </a:stretch>
        </p:blipFill>
        <p:spPr>
          <a:xfrm>
            <a:off x="463550" y="1268456"/>
            <a:ext cx="3648997" cy="5082102"/>
          </a:xfr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866800F-0798-4ED2-40EE-7880F8B2F1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5548" y="1309808"/>
            <a:ext cx="2221000" cy="292574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23C3BA8-59D0-23E0-CF71-6C5632B8FA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1180" y="4294734"/>
            <a:ext cx="3677755" cy="205582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8B5C64E-E92E-84A2-44D1-FD84E98840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23945" y="1285158"/>
            <a:ext cx="3701253" cy="50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843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9w8B6wjtIIYyevyMoD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g5Dv8RGue4ozUYFRd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qhnCO7JJHqU2f8XE9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9w8B6wjtIIYyevyMoD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9w8B6wjtIIYyevyMoDr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g5Dv8RGue4ozUYFRd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qhnCO7JJHqU2f8XE9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qhnCO7JJHqU2f8XE9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9w8B6wjtIIYyevyMoD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g5Dv8RGue4ozUYFRd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qhnCO7JJHqU2f8XE9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noH0Swv0ofrCeQ39eP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9w8B6wjtIIYyevyMoD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g5Dv8RGue4ozUYFRd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qhnCO7JJHqU2f8XE9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d07AGwwgKSBrj8LfO_D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d07AGwwgKSBrj8LfO_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g5Dv8RGue4ozUYFRd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qhnCO7JJHqU2f8XE9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noH0Swv0ofrCeQ39ePyA"/>
</p:tagLst>
</file>

<file path=ppt/theme/theme1.xml><?xml version="1.0" encoding="utf-8"?>
<a:theme xmlns:a="http://schemas.openxmlformats.org/drawingml/2006/main" name="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deck_Presentation_Infrastructure_2021V2  -  Schreibgeschützt" id="{EDE091C9-79FB-4AB3-B2DD-2D5CBD98F05D}" vid="{9975EFF7-506C-4F85-A96F-C9872E46395A}"/>
    </a:ext>
  </a:extLst>
</a:theme>
</file>

<file path=ppt/theme/theme10.xml><?xml version="1.0" encoding="utf-8"?>
<a:theme xmlns:a="http://schemas.openxmlformats.org/drawingml/2006/main" name="28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liaxis_29_10_18" id="{6F273D37-E4F9-40E5-87A4-7AE87A4146B0}" vid="{8DE126A2-C1AD-4ED3-9FDE-6FD8B87240E2}"/>
    </a:ext>
  </a:extLst>
</a:theme>
</file>

<file path=ppt/theme/theme11.xml><?xml version="1.0" encoding="utf-8"?>
<a:theme xmlns:a="http://schemas.openxmlformats.org/drawingml/2006/main" name="9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liaxis_29_10_18" id="{6F273D37-E4F9-40E5-87A4-7AE87A4146B0}" vid="{8DE126A2-C1AD-4ED3-9FDE-6FD8B87240E2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liaxis_29_10_18" id="{6F273D37-E4F9-40E5-87A4-7AE87A4146B0}" vid="{8DE126A2-C1AD-4ED3-9FDE-6FD8B87240E2}"/>
    </a:ext>
  </a:extLst>
</a:theme>
</file>

<file path=ppt/theme/theme3.xml><?xml version="1.0" encoding="utf-8"?>
<a:theme xmlns:a="http://schemas.openxmlformats.org/drawingml/2006/main" name="30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deck_Presentation_Infrastructure_2021V2  -  Schreibgeschützt" id="{0F913A6F-5551-41F3-A842-6109022D1043}" vid="{1E7C46A9-C7E3-4298-95F6-776746C03762}"/>
    </a:ext>
  </a:extLst>
</a:theme>
</file>

<file path=ppt/theme/theme4.xml><?xml version="1.0" encoding="utf-8"?>
<a:theme xmlns:a="http://schemas.openxmlformats.org/drawingml/2006/main" name="27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deck_Presentation_Infrastructure_2021V2" id="{C5795AAD-B080-4C1B-98A1-B06B2928A271}" vid="{89A5A550-BEEB-49C6-AFF3-A23B0357424E}"/>
    </a:ext>
  </a:extLst>
</a:theme>
</file>

<file path=ppt/theme/theme5.xml><?xml version="1.0" encoding="utf-8"?>
<a:theme xmlns:a="http://schemas.openxmlformats.org/drawingml/2006/main" name="8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deck_Presentation_Infrastructure_2021V2  -  Schreibgeschützt" id="{0F913A6F-5551-41F3-A842-6109022D1043}" vid="{410F7BF6-D43F-4EFB-9443-1EC01C62BD1A}"/>
    </a:ext>
  </a:extLst>
</a:theme>
</file>

<file path=ppt/theme/theme6.xml><?xml version="1.0" encoding="utf-8"?>
<a:theme xmlns:a="http://schemas.openxmlformats.org/drawingml/2006/main" name="25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liaxis_29_10_18" id="{6F273D37-E4F9-40E5-87A4-7AE87A4146B0}" vid="{8DE126A2-C1AD-4ED3-9FDE-6FD8B87240E2}"/>
    </a:ext>
  </a:extLst>
</a:theme>
</file>

<file path=ppt/theme/theme7.xml><?xml version="1.0" encoding="utf-8"?>
<a:theme xmlns:a="http://schemas.openxmlformats.org/drawingml/2006/main" name="5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liaxis_29_10_18" id="{6F273D37-E4F9-40E5-87A4-7AE87A4146B0}" vid="{8DE126A2-C1AD-4ED3-9FDE-6FD8B87240E2}"/>
    </a:ext>
  </a:extLst>
</a:theme>
</file>

<file path=ppt/theme/theme8.xml><?xml version="1.0" encoding="utf-8"?>
<a:theme xmlns:a="http://schemas.openxmlformats.org/drawingml/2006/main" name="32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LX GER PowerPoint_Vorlage_FRIATEC 11-05-2020" id="{C246032C-DD32-43B6-B24C-EC3F2C4871CE}" vid="{B16BF4E3-28D8-483D-87AB-3DDC6FC893C1}"/>
    </a:ext>
  </a:extLst>
</a:theme>
</file>

<file path=ppt/theme/theme9.xml><?xml version="1.0" encoding="utf-8"?>
<a:theme xmlns:a="http://schemas.openxmlformats.org/drawingml/2006/main" name="37_Office">
  <a:themeElements>
    <a:clrScheme name="Aliaxis">
      <a:dk1>
        <a:srgbClr val="5E5E5E"/>
      </a:dk1>
      <a:lt1>
        <a:sysClr val="window" lastClr="FFFFFF"/>
      </a:lt1>
      <a:dk2>
        <a:srgbClr val="3066E3"/>
      </a:dk2>
      <a:lt2>
        <a:srgbClr val="ECECEC"/>
      </a:lt2>
      <a:accent1>
        <a:srgbClr val="32AAFF"/>
      </a:accent1>
      <a:accent2>
        <a:srgbClr val="D645CC"/>
      </a:accent2>
      <a:accent3>
        <a:srgbClr val="52DEAD"/>
      </a:accent3>
      <a:accent4>
        <a:srgbClr val="FA6157"/>
      </a:accent4>
      <a:accent5>
        <a:srgbClr val="57DE52"/>
      </a:accent5>
      <a:accent6>
        <a:srgbClr val="FAA64A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LX GER PowerPoint_Vorlage_FRIATEC 11-05-2020" id="{C246032C-DD32-43B6-B24C-EC3F2C4871CE}" vid="{B16BF4E3-28D8-483D-87AB-3DDC6FC893C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68655334F6FC4690CFC96487B9A2DC" ma:contentTypeVersion="13" ma:contentTypeDescription="Create a new document." ma:contentTypeScope="" ma:versionID="63ac3ce272dd763740098c4e0f56f612">
  <xsd:schema xmlns:xsd="http://www.w3.org/2001/XMLSchema" xmlns:xs="http://www.w3.org/2001/XMLSchema" xmlns:p="http://schemas.microsoft.com/office/2006/metadata/properties" xmlns:ns3="9d12f9db-ee03-412a-b6ae-85fa8c70302c" xmlns:ns4="2109f474-d876-4fc7-babc-4b6f255d49e4" targetNamespace="http://schemas.microsoft.com/office/2006/metadata/properties" ma:root="true" ma:fieldsID="4cae3caba51e1b7273ff9740b72f7160" ns3:_="" ns4:_="">
    <xsd:import namespace="9d12f9db-ee03-412a-b6ae-85fa8c70302c"/>
    <xsd:import namespace="2109f474-d876-4fc7-babc-4b6f255d49e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2f9db-ee03-412a-b6ae-85fa8c70302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09f474-d876-4fc7-babc-4b6f255d49e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F95533-D2F6-4445-9EA7-096F704722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12f9db-ee03-412a-b6ae-85fa8c70302c"/>
    <ds:schemaRef ds:uri="2109f474-d876-4fc7-babc-4b6f255d49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AF1E152-E833-4251-A054-34BDF3C3CA6E}">
  <ds:schemaRefs>
    <ds:schemaRef ds:uri="http://purl.org/dc/elements/1.1/"/>
    <ds:schemaRef ds:uri="http://schemas.microsoft.com/office/2006/metadata/properties"/>
    <ds:schemaRef ds:uri="2109f474-d876-4fc7-babc-4b6f255d49e4"/>
    <ds:schemaRef ds:uri="9d12f9db-ee03-412a-b6ae-85fa8c70302c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8C27DF0-AC0F-4643-98FB-CBB9338EA9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Slidedeck_Presentation_Infrastructure_2021_D</Template>
  <TotalTime>316</TotalTime>
  <Words>1615</Words>
  <Application>Microsoft Office PowerPoint</Application>
  <PresentationFormat>Szélesvásznú</PresentationFormat>
  <Paragraphs>290</Paragraphs>
  <Slides>35</Slides>
  <Notes>4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7</vt:i4>
      </vt:variant>
      <vt:variant>
        <vt:lpstr>Téma</vt:lpstr>
      </vt:variant>
      <vt:variant>
        <vt:i4>11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35</vt:i4>
      </vt:variant>
    </vt:vector>
  </HeadingPairs>
  <TitlesOfParts>
    <vt:vector size="55" baseType="lpstr">
      <vt:lpstr>Arial</vt:lpstr>
      <vt:lpstr>Arial Black</vt:lpstr>
      <vt:lpstr>Arial-BoldMT</vt:lpstr>
      <vt:lpstr>Calibri</vt:lpstr>
      <vt:lpstr>Century Gothic</vt:lpstr>
      <vt:lpstr>Verdana</vt:lpstr>
      <vt:lpstr>Wingdings</vt:lpstr>
      <vt:lpstr>Office</vt:lpstr>
      <vt:lpstr>1_Office</vt:lpstr>
      <vt:lpstr>30_Office</vt:lpstr>
      <vt:lpstr>27_Office</vt:lpstr>
      <vt:lpstr>8_Office</vt:lpstr>
      <vt:lpstr>25_Office</vt:lpstr>
      <vt:lpstr>5_Office</vt:lpstr>
      <vt:lpstr>32_Office</vt:lpstr>
      <vt:lpstr>37_Office</vt:lpstr>
      <vt:lpstr>28_Office</vt:lpstr>
      <vt:lpstr>9_Office</vt:lpstr>
      <vt:lpstr>think-cell Slide</vt:lpstr>
      <vt:lpstr>think-cell Folie</vt:lpstr>
      <vt:lpstr>PowerPoint-bemutató</vt:lpstr>
      <vt:lpstr>Műszaki Tanácsadó </vt:lpstr>
      <vt:lpstr>Relining kötéstechnológia előadás   Agenda:</vt:lpstr>
      <vt:lpstr>Felújítási módszerek</vt:lpstr>
      <vt:lpstr>Close-fit szorosan illeszkedő PE-HD béléscső</vt:lpstr>
      <vt:lpstr>Csatlakozók a CLOSE-FIT technológiához</vt:lpstr>
      <vt:lpstr>PowerPoint-bemutató</vt:lpstr>
      <vt:lpstr>Close Fit – Lining Verbindungstechnik</vt:lpstr>
      <vt:lpstr>Close Fit – Bélelés Gázvezeték DN 500, SDR 21, PE 100, 93m hosszban</vt:lpstr>
      <vt:lpstr>FRAISAFE alternatív kötéstechnológia PE-HD relining csövekhez, vagy egyéb csőanyagokhoz</vt:lpstr>
      <vt:lpstr>Korrózióálló gyűrű és erősített rögzítőelem</vt:lpstr>
      <vt:lpstr>FRIASAFE Jellemzők</vt:lpstr>
      <vt:lpstr>PowerPoint-bemutató</vt:lpstr>
      <vt:lpstr>FRIAFIT®  FIXBLOC mérettartomány dn 160 - dn 1.600 ​</vt:lpstr>
      <vt:lpstr>FRIAFIT®  FIXBLOC mérettartomány of dn 160 - dn 1.600 ​</vt:lpstr>
      <vt:lpstr>FRIAFIT®  FIXBLOC mérettartomány dn 160 - dn 1.600 ​</vt:lpstr>
      <vt:lpstr>PowerPoint-bemutató</vt:lpstr>
      <vt:lpstr>PowerPoint-bemutató</vt:lpstr>
      <vt:lpstr>Nyomás alatti leágazások, megoldások DAA – nyomás alatti megfúróidom &amp; DAV – nyomás alatti megfúrószelep</vt:lpstr>
      <vt:lpstr>Házi bekötések létesítése Top-Loading idommal Close-Fit csővezetékekre</vt:lpstr>
      <vt:lpstr>Top nyeregidomok  különböző átmérőkhöz Top-Loading</vt:lpstr>
      <vt:lpstr>Top-Loading Close-Fit csövekhez</vt:lpstr>
      <vt:lpstr>Top-Loading Close-Fit Liner</vt:lpstr>
      <vt:lpstr>PowerPoint-bemutató</vt:lpstr>
      <vt:lpstr>SA UNI – méretválaszték  </vt:lpstr>
      <vt:lpstr>FRIALEN elektrofitting leágazó idomok SA-UNI d 315 - d 1200 with outlet 225/250 - Projekt Esettanulmány</vt:lpstr>
      <vt:lpstr>FRIALEN elektrofitting leágazó idomok SA-UNI d 315 - d 1200 with outlet 225/250 – projekt Esettanulmány</vt:lpstr>
      <vt:lpstr>PowerPoint-bemutató</vt:lpstr>
      <vt:lpstr>Nyomás alatti leágazás FRIALOC elzárószerelvénnyel kombinálva</vt:lpstr>
      <vt:lpstr>SA UNI nyomás alatti leágazás kivitelzése gyorsan és könnyen</vt:lpstr>
      <vt:lpstr>D710 mm/ d 250 mm SA VL leágazás karimás csatlakozással</vt:lpstr>
      <vt:lpstr>Megfúrás d710 mm.es fővezetéken d 250 SAVL leágazó idommal tolózáron keresztül</vt:lpstr>
      <vt:lpstr>Élő csapolás a d710 / d250SA  VL főegységen karimás elszívással</vt:lpstr>
      <vt:lpstr>Kérdések és válaszok</vt:lpstr>
      <vt:lpstr>PowerPoint-bemutató</vt:lpstr>
    </vt:vector>
  </TitlesOfParts>
  <Company>Aliax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thias Baier</dc:creator>
  <cp:lastModifiedBy>Agriapipe</cp:lastModifiedBy>
  <cp:revision>13</cp:revision>
  <dcterms:created xsi:type="dcterms:W3CDTF">2023-02-10T07:35:44Z</dcterms:created>
  <dcterms:modified xsi:type="dcterms:W3CDTF">2025-01-23T11:1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68655334F6FC4690CFC96487B9A2DC</vt:lpwstr>
  </property>
</Properties>
</file>